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1"/>
  </p:sldMasterIdLst>
  <p:notesMasterIdLst>
    <p:notesMasterId r:id="rId24"/>
  </p:notesMasterIdLst>
  <p:handoutMasterIdLst>
    <p:handoutMasterId r:id="rId25"/>
  </p:handoutMasterIdLst>
  <p:sldIdLst>
    <p:sldId id="2462" r:id="rId12"/>
    <p:sldId id="2502" r:id="rId13"/>
    <p:sldId id="2515" r:id="rId14"/>
    <p:sldId id="2516" r:id="rId15"/>
    <p:sldId id="2510" r:id="rId16"/>
    <p:sldId id="2507" r:id="rId17"/>
    <p:sldId id="2497" r:id="rId18"/>
    <p:sldId id="2504" r:id="rId19"/>
    <p:sldId id="2496" r:id="rId20"/>
    <p:sldId id="499" r:id="rId21"/>
    <p:sldId id="494" r:id="rId22"/>
    <p:sldId id="2467" r:id="rId23"/>
  </p:sldIdLst>
  <p:sldSz cx="12195175" cy="6858000"/>
  <p:notesSz cx="6797675" cy="9926638"/>
  <p:custDataLst>
    <p:custData r:id="rId3"/>
    <p:custData r:id="rId4"/>
    <p:custData r:id="rId5"/>
    <p:custData r:id="rId6"/>
    <p:custData r:id="rId7"/>
    <p:custData r:id="rId8"/>
    <p:custData r:id="rId9"/>
    <p:custData r:id="rId10"/>
    <p:tags r:id="rId26"/>
  </p:custDataLst>
  <p:defaultTextStyle>
    <a:defPPr>
      <a:defRPr lang="de-DE"/>
    </a:defPPr>
    <a:lvl1pPr algn="ctr" rtl="0" fontAlgn="base">
      <a:spcBef>
        <a:spcPct val="50000"/>
      </a:spcBef>
      <a:spcAft>
        <a:spcPct val="0"/>
      </a:spcAft>
      <a:defRPr kern="1400">
        <a:solidFill>
          <a:schemeClr val="bg2"/>
        </a:solidFill>
        <a:latin typeface="Arial" pitchFamily="34" charset="0"/>
        <a:ea typeface="ＭＳ Ｐゴシック" charset="-128"/>
        <a:cs typeface="+mn-cs"/>
      </a:defRPr>
    </a:lvl1pPr>
    <a:lvl2pPr marL="457200" algn="ctr" rtl="0" fontAlgn="base">
      <a:spcBef>
        <a:spcPct val="50000"/>
      </a:spcBef>
      <a:spcAft>
        <a:spcPct val="0"/>
      </a:spcAft>
      <a:defRPr kern="1400">
        <a:solidFill>
          <a:schemeClr val="bg2"/>
        </a:solidFill>
        <a:latin typeface="Arial" pitchFamily="34" charset="0"/>
        <a:ea typeface="ＭＳ Ｐゴシック" charset="-128"/>
        <a:cs typeface="+mn-cs"/>
      </a:defRPr>
    </a:lvl2pPr>
    <a:lvl3pPr marL="914400" algn="ctr" rtl="0" fontAlgn="base">
      <a:spcBef>
        <a:spcPct val="50000"/>
      </a:spcBef>
      <a:spcAft>
        <a:spcPct val="0"/>
      </a:spcAft>
      <a:defRPr kern="1400">
        <a:solidFill>
          <a:schemeClr val="bg2"/>
        </a:solidFill>
        <a:latin typeface="Arial" pitchFamily="34" charset="0"/>
        <a:ea typeface="ＭＳ Ｐゴシック" charset="-128"/>
        <a:cs typeface="+mn-cs"/>
      </a:defRPr>
    </a:lvl3pPr>
    <a:lvl4pPr marL="1371600" algn="ctr" rtl="0" fontAlgn="base">
      <a:spcBef>
        <a:spcPct val="50000"/>
      </a:spcBef>
      <a:spcAft>
        <a:spcPct val="0"/>
      </a:spcAft>
      <a:defRPr kern="1400">
        <a:solidFill>
          <a:schemeClr val="bg2"/>
        </a:solidFill>
        <a:latin typeface="Arial" pitchFamily="34" charset="0"/>
        <a:ea typeface="ＭＳ Ｐゴシック" charset="-128"/>
        <a:cs typeface="+mn-cs"/>
      </a:defRPr>
    </a:lvl4pPr>
    <a:lvl5pPr marL="1828800" algn="ctr" rtl="0" fontAlgn="base">
      <a:spcBef>
        <a:spcPct val="50000"/>
      </a:spcBef>
      <a:spcAft>
        <a:spcPct val="0"/>
      </a:spcAft>
      <a:defRPr kern="1400">
        <a:solidFill>
          <a:schemeClr val="bg2"/>
        </a:solidFill>
        <a:latin typeface="Arial" pitchFamily="34" charset="0"/>
        <a:ea typeface="ＭＳ Ｐゴシック" charset="-128"/>
        <a:cs typeface="+mn-cs"/>
      </a:defRPr>
    </a:lvl5pPr>
    <a:lvl6pPr marL="2286000" algn="ctr" defTabSz="914400" rtl="0" eaLnBrk="1" latinLnBrk="0" hangingPunct="1">
      <a:defRPr kern="1400">
        <a:solidFill>
          <a:schemeClr val="bg2"/>
        </a:solidFill>
        <a:latin typeface="Arial" pitchFamily="34" charset="0"/>
        <a:ea typeface="ＭＳ Ｐゴシック" charset="-128"/>
        <a:cs typeface="+mn-cs"/>
      </a:defRPr>
    </a:lvl6pPr>
    <a:lvl7pPr marL="2743200" algn="ctr" defTabSz="914400" rtl="0" eaLnBrk="1" latinLnBrk="0" hangingPunct="1">
      <a:defRPr kern="1400">
        <a:solidFill>
          <a:schemeClr val="bg2"/>
        </a:solidFill>
        <a:latin typeface="Arial" pitchFamily="34" charset="0"/>
        <a:ea typeface="ＭＳ Ｐゴシック" charset="-128"/>
        <a:cs typeface="+mn-cs"/>
      </a:defRPr>
    </a:lvl7pPr>
    <a:lvl8pPr marL="3200400" algn="ctr" defTabSz="914400" rtl="0" eaLnBrk="1" latinLnBrk="0" hangingPunct="1">
      <a:defRPr kern="1400">
        <a:solidFill>
          <a:schemeClr val="bg2"/>
        </a:solidFill>
        <a:latin typeface="Arial" pitchFamily="34" charset="0"/>
        <a:ea typeface="ＭＳ Ｐゴシック" charset="-128"/>
        <a:cs typeface="+mn-cs"/>
      </a:defRPr>
    </a:lvl8pPr>
    <a:lvl9pPr marL="3657600" algn="ctr" defTabSz="914400" rtl="0" eaLnBrk="1" latinLnBrk="0" hangingPunct="1">
      <a:defRPr kern="14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4042" userDrawn="1">
          <p15:clr>
            <a:srgbClr val="A4A3A4"/>
          </p15:clr>
        </p15:guide>
        <p15:guide id="10" pos="1097"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üller, Kurt (SI BP S&amp;C CS&amp;TR TR TD)" initials="MK(BSCTT" lastIdx="3" clrIdx="0">
    <p:extLst>
      <p:ext uri="{19B8F6BF-5375-455C-9EA6-DF929625EA0E}">
        <p15:presenceInfo xmlns:p15="http://schemas.microsoft.com/office/powerpoint/2012/main" userId="S::kurtmueller@siemens.com::e7e82c7e-80c6-42a5-ab71-24588885b7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EEF8"/>
    <a:srgbClr val="0080B6"/>
    <a:srgbClr val="CED8E0"/>
    <a:srgbClr val="FFFFFF"/>
    <a:srgbClr val="4472C4"/>
    <a:srgbClr val="7030A0"/>
    <a:srgbClr val="F6FDB1"/>
    <a:srgbClr val="0070C0"/>
    <a:srgbClr val="C0BFC0"/>
    <a:srgbClr val="B05A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A3683F-7FB2-425B-9CA4-023E247BC1C6}" v="42" dt="2021-11-18T14:21:14.4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11" autoAdjust="0"/>
    <p:restoredTop sz="93527" autoAdjust="0"/>
  </p:normalViewPr>
  <p:slideViewPr>
    <p:cSldViewPr snapToGrid="0">
      <p:cViewPr varScale="1">
        <p:scale>
          <a:sx n="73" d="100"/>
          <a:sy n="73" d="100"/>
        </p:scale>
        <p:origin x="480" y="43"/>
      </p:cViewPr>
      <p:guideLst>
        <p:guide orient="horz" pos="4042"/>
        <p:guide pos="1097"/>
      </p:guideLst>
    </p:cSldViewPr>
  </p:slideViewPr>
  <p:notesTextViewPr>
    <p:cViewPr>
      <p:scale>
        <a:sx n="75" d="100"/>
        <a:sy n="75" d="100"/>
      </p:scale>
      <p:origin x="0" y="0"/>
    </p:cViewPr>
  </p:notesTextViewPr>
  <p:sorterViewPr>
    <p:cViewPr>
      <p:scale>
        <a:sx n="125" d="100"/>
        <a:sy n="125" d="100"/>
      </p:scale>
      <p:origin x="0" y="0"/>
    </p:cViewPr>
  </p:sorterViewPr>
  <p:notesViewPr>
    <p:cSldViewPr snapToGrid="0">
      <p:cViewPr>
        <p:scale>
          <a:sx n="1" d="2"/>
          <a:sy n="1" d="2"/>
        </p:scale>
        <p:origin x="1939" y="197"/>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handoutMaster" Target="handoutMasters/handout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8.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üller, Kurt (SI BP S TSS TR)" userId="e7e82c7e-80c6-42a5-ab71-24588885b7fe" providerId="ADAL" clId="{BD12E1C1-E5D7-4A0A-98B1-5EC04DE91BBE}"/>
    <pc:docChg chg="addSld delSld modSld">
      <pc:chgData name="Müller, Kurt (SI BP S TSS TR)" userId="e7e82c7e-80c6-42a5-ab71-24588885b7fe" providerId="ADAL" clId="{BD12E1C1-E5D7-4A0A-98B1-5EC04DE91BBE}" dt="2021-07-23T13:55:27.563" v="2" actId="47"/>
      <pc:docMkLst>
        <pc:docMk/>
      </pc:docMkLst>
      <pc:sldChg chg="del">
        <pc:chgData name="Müller, Kurt (SI BP S TSS TR)" userId="e7e82c7e-80c6-42a5-ab71-24588885b7fe" providerId="ADAL" clId="{BD12E1C1-E5D7-4A0A-98B1-5EC04DE91BBE}" dt="2021-07-23T13:55:26.140" v="1" actId="47"/>
        <pc:sldMkLst>
          <pc:docMk/>
          <pc:sldMk cId="825092287" sldId="2435"/>
        </pc:sldMkLst>
      </pc:sldChg>
      <pc:sldChg chg="del">
        <pc:chgData name="Müller, Kurt (SI BP S TSS TR)" userId="e7e82c7e-80c6-42a5-ab71-24588885b7fe" providerId="ADAL" clId="{BD12E1C1-E5D7-4A0A-98B1-5EC04DE91BBE}" dt="2021-07-23T13:55:27.563" v="2" actId="47"/>
        <pc:sldMkLst>
          <pc:docMk/>
          <pc:sldMk cId="3823130389" sldId="2436"/>
        </pc:sldMkLst>
      </pc:sldChg>
      <pc:sldChg chg="add">
        <pc:chgData name="Müller, Kurt (SI BP S TSS TR)" userId="e7e82c7e-80c6-42a5-ab71-24588885b7fe" providerId="ADAL" clId="{BD12E1C1-E5D7-4A0A-98B1-5EC04DE91BBE}" dt="2021-07-23T13:55:20.410" v="0"/>
        <pc:sldMkLst>
          <pc:docMk/>
          <pc:sldMk cId="3755587644" sldId="2570"/>
        </pc:sldMkLst>
      </pc:sldChg>
      <pc:sldChg chg="add">
        <pc:chgData name="Müller, Kurt (SI BP S TSS TR)" userId="e7e82c7e-80c6-42a5-ab71-24588885b7fe" providerId="ADAL" clId="{BD12E1C1-E5D7-4A0A-98B1-5EC04DE91BBE}" dt="2021-07-23T13:55:20.410" v="0"/>
        <pc:sldMkLst>
          <pc:docMk/>
          <pc:sldMk cId="1660204262" sldId="2571"/>
        </pc:sldMkLst>
      </pc:sldChg>
    </pc:docChg>
  </pc:docChgLst>
  <pc:docChgLst>
    <pc:chgData name="Müller, Kurt (SI BP S TSS TR)" userId="e7e82c7e-80c6-42a5-ab71-24588885b7fe" providerId="ADAL" clId="{167FC261-9733-43D8-A9C5-B462733A4DDF}"/>
    <pc:docChg chg="undo custSel addSld delSld modSld sldOrd">
      <pc:chgData name="Müller, Kurt (SI BP S TSS TR)" userId="e7e82c7e-80c6-42a5-ab71-24588885b7fe" providerId="ADAL" clId="{167FC261-9733-43D8-A9C5-B462733A4DDF}" dt="2021-10-06T13:15:30.116" v="2254" actId="47"/>
      <pc:docMkLst>
        <pc:docMk/>
      </pc:docMkLst>
      <pc:sldChg chg="addSp delSp modSp del mod">
        <pc:chgData name="Müller, Kurt (SI BP S TSS TR)" userId="e7e82c7e-80c6-42a5-ab71-24588885b7fe" providerId="ADAL" clId="{167FC261-9733-43D8-A9C5-B462733A4DDF}" dt="2021-10-06T13:15:30.116" v="2254" actId="47"/>
        <pc:sldMkLst>
          <pc:docMk/>
          <pc:sldMk cId="2414038128" sldId="2475"/>
        </pc:sldMkLst>
        <pc:spChg chg="add mod">
          <ac:chgData name="Müller, Kurt (SI BP S TSS TR)" userId="e7e82c7e-80c6-42a5-ab71-24588885b7fe" providerId="ADAL" clId="{167FC261-9733-43D8-A9C5-B462733A4DDF}" dt="2021-10-06T08:59:22.568" v="1306" actId="14100"/>
          <ac:spMkLst>
            <pc:docMk/>
            <pc:sldMk cId="2414038128" sldId="2475"/>
            <ac:spMk id="3" creationId="{B8156BAB-775E-4CC3-83F3-EEA66094E656}"/>
          </ac:spMkLst>
        </pc:spChg>
        <pc:spChg chg="add del mod">
          <ac:chgData name="Müller, Kurt (SI BP S TSS TR)" userId="e7e82c7e-80c6-42a5-ab71-24588885b7fe" providerId="ADAL" clId="{167FC261-9733-43D8-A9C5-B462733A4DDF}" dt="2021-10-06T09:06:36.583" v="1366" actId="478"/>
          <ac:spMkLst>
            <pc:docMk/>
            <pc:sldMk cId="2414038128" sldId="2475"/>
            <ac:spMk id="15" creationId="{BF065033-0D35-4CC4-B241-D4ADF67616EB}"/>
          </ac:spMkLst>
        </pc:spChg>
        <pc:spChg chg="mod">
          <ac:chgData name="Müller, Kurt (SI BP S TSS TR)" userId="e7e82c7e-80c6-42a5-ab71-24588885b7fe" providerId="ADAL" clId="{167FC261-9733-43D8-A9C5-B462733A4DDF}" dt="2021-10-06T09:15:46.796" v="1458" actId="1076"/>
          <ac:spMkLst>
            <pc:docMk/>
            <pc:sldMk cId="2414038128" sldId="2475"/>
            <ac:spMk id="17" creationId="{02CCF567-4B31-4487-B173-DB18C09CAC1F}"/>
          </ac:spMkLst>
        </pc:spChg>
        <pc:spChg chg="mod">
          <ac:chgData name="Müller, Kurt (SI BP S TSS TR)" userId="e7e82c7e-80c6-42a5-ab71-24588885b7fe" providerId="ADAL" clId="{167FC261-9733-43D8-A9C5-B462733A4DDF}" dt="2021-10-06T09:15:19.322" v="1451" actId="1076"/>
          <ac:spMkLst>
            <pc:docMk/>
            <pc:sldMk cId="2414038128" sldId="2475"/>
            <ac:spMk id="20" creationId="{00097844-8E69-4FF3-BF54-946C91C4A321}"/>
          </ac:spMkLst>
        </pc:spChg>
        <pc:spChg chg="mod">
          <ac:chgData name="Müller, Kurt (SI BP S TSS TR)" userId="e7e82c7e-80c6-42a5-ab71-24588885b7fe" providerId="ADAL" clId="{167FC261-9733-43D8-A9C5-B462733A4DDF}" dt="2021-10-06T09:04:16.334" v="1356" actId="14100"/>
          <ac:spMkLst>
            <pc:docMk/>
            <pc:sldMk cId="2414038128" sldId="2475"/>
            <ac:spMk id="23" creationId="{D114B01A-C97D-48CB-AA92-8DA86768CB78}"/>
          </ac:spMkLst>
        </pc:spChg>
        <pc:spChg chg="mod">
          <ac:chgData name="Müller, Kurt (SI BP S TSS TR)" userId="e7e82c7e-80c6-42a5-ab71-24588885b7fe" providerId="ADAL" clId="{167FC261-9733-43D8-A9C5-B462733A4DDF}" dt="2021-10-06T09:05:48.904" v="1364" actId="20577"/>
          <ac:spMkLst>
            <pc:docMk/>
            <pc:sldMk cId="2414038128" sldId="2475"/>
            <ac:spMk id="25" creationId="{4561F6C1-00E5-463D-A0EE-BD580CF52D81}"/>
          </ac:spMkLst>
        </pc:spChg>
        <pc:spChg chg="mod">
          <ac:chgData name="Müller, Kurt (SI BP S TSS TR)" userId="e7e82c7e-80c6-42a5-ab71-24588885b7fe" providerId="ADAL" clId="{167FC261-9733-43D8-A9C5-B462733A4DDF}" dt="2021-10-06T09:16:24.194" v="1469" actId="1076"/>
          <ac:spMkLst>
            <pc:docMk/>
            <pc:sldMk cId="2414038128" sldId="2475"/>
            <ac:spMk id="27" creationId="{D2AF9952-E751-4DA5-8A39-24CBDBCC8437}"/>
          </ac:spMkLst>
        </pc:spChg>
        <pc:spChg chg="mod">
          <ac:chgData name="Müller, Kurt (SI BP S TSS TR)" userId="e7e82c7e-80c6-42a5-ab71-24588885b7fe" providerId="ADAL" clId="{167FC261-9733-43D8-A9C5-B462733A4DDF}" dt="2021-10-06T09:14:38.074" v="1444" actId="1076"/>
          <ac:spMkLst>
            <pc:docMk/>
            <pc:sldMk cId="2414038128" sldId="2475"/>
            <ac:spMk id="28" creationId="{5AA98577-E41E-4541-B0F9-822E9CFEF805}"/>
          </ac:spMkLst>
        </pc:spChg>
        <pc:spChg chg="mod">
          <ac:chgData name="Müller, Kurt (SI BP S TSS TR)" userId="e7e82c7e-80c6-42a5-ab71-24588885b7fe" providerId="ADAL" clId="{167FC261-9733-43D8-A9C5-B462733A4DDF}" dt="2021-10-06T09:14:38.632" v="1445" actId="1076"/>
          <ac:spMkLst>
            <pc:docMk/>
            <pc:sldMk cId="2414038128" sldId="2475"/>
            <ac:spMk id="29" creationId="{DF7A5AC7-1E44-4AA3-A4E1-1AE811E6B600}"/>
          </ac:spMkLst>
        </pc:spChg>
        <pc:spChg chg="mod">
          <ac:chgData name="Müller, Kurt (SI BP S TSS TR)" userId="e7e82c7e-80c6-42a5-ab71-24588885b7fe" providerId="ADAL" clId="{167FC261-9733-43D8-A9C5-B462733A4DDF}" dt="2021-10-06T09:11:59.981" v="1432" actId="1076"/>
          <ac:spMkLst>
            <pc:docMk/>
            <pc:sldMk cId="2414038128" sldId="2475"/>
            <ac:spMk id="30" creationId="{9F43DCFF-17F3-40CD-929B-65156F7D9DCC}"/>
          </ac:spMkLst>
        </pc:spChg>
        <pc:spChg chg="mod">
          <ac:chgData name="Müller, Kurt (SI BP S TSS TR)" userId="e7e82c7e-80c6-42a5-ab71-24588885b7fe" providerId="ADAL" clId="{167FC261-9733-43D8-A9C5-B462733A4DDF}" dt="2021-10-06T09:11:52.831" v="1430" actId="20577"/>
          <ac:spMkLst>
            <pc:docMk/>
            <pc:sldMk cId="2414038128" sldId="2475"/>
            <ac:spMk id="31" creationId="{4B081E09-3F52-428D-B946-4FEB5CF18FEE}"/>
          </ac:spMkLst>
        </pc:spChg>
        <pc:spChg chg="mod">
          <ac:chgData name="Müller, Kurt (SI BP S TSS TR)" userId="e7e82c7e-80c6-42a5-ab71-24588885b7fe" providerId="ADAL" clId="{167FC261-9733-43D8-A9C5-B462733A4DDF}" dt="2021-10-06T09:11:10.047" v="1415" actId="552"/>
          <ac:spMkLst>
            <pc:docMk/>
            <pc:sldMk cId="2414038128" sldId="2475"/>
            <ac:spMk id="32" creationId="{A214BC0F-A34D-4BC3-8BB7-EBD3C7FD404A}"/>
          </ac:spMkLst>
        </pc:spChg>
        <pc:spChg chg="mod">
          <ac:chgData name="Müller, Kurt (SI BP S TSS TR)" userId="e7e82c7e-80c6-42a5-ab71-24588885b7fe" providerId="ADAL" clId="{167FC261-9733-43D8-A9C5-B462733A4DDF}" dt="2021-10-06T09:13:31.734" v="1438" actId="1076"/>
          <ac:spMkLst>
            <pc:docMk/>
            <pc:sldMk cId="2414038128" sldId="2475"/>
            <ac:spMk id="33" creationId="{9CDB2FB1-5770-46D2-B536-3EF707061297}"/>
          </ac:spMkLst>
        </pc:spChg>
        <pc:spChg chg="mod">
          <ac:chgData name="Müller, Kurt (SI BP S TSS TR)" userId="e7e82c7e-80c6-42a5-ab71-24588885b7fe" providerId="ADAL" clId="{167FC261-9733-43D8-A9C5-B462733A4DDF}" dt="2021-10-06T09:16:28.118" v="1471" actId="1076"/>
          <ac:spMkLst>
            <pc:docMk/>
            <pc:sldMk cId="2414038128" sldId="2475"/>
            <ac:spMk id="40" creationId="{AFBC7CEE-DBA1-413E-B34B-8F61D2E5E206}"/>
          </ac:spMkLst>
        </pc:spChg>
        <pc:spChg chg="mod">
          <ac:chgData name="Müller, Kurt (SI BP S TSS TR)" userId="e7e82c7e-80c6-42a5-ab71-24588885b7fe" providerId="ADAL" clId="{167FC261-9733-43D8-A9C5-B462733A4DDF}" dt="2021-10-06T09:10:03.645" v="1399" actId="1076"/>
          <ac:spMkLst>
            <pc:docMk/>
            <pc:sldMk cId="2414038128" sldId="2475"/>
            <ac:spMk id="42" creationId="{9DC30CDE-A632-4DC9-B097-521C16ABF36C}"/>
          </ac:spMkLst>
        </pc:spChg>
        <pc:spChg chg="add mod">
          <ac:chgData name="Müller, Kurt (SI BP S TSS TR)" userId="e7e82c7e-80c6-42a5-ab71-24588885b7fe" providerId="ADAL" clId="{167FC261-9733-43D8-A9C5-B462733A4DDF}" dt="2021-10-06T11:53:22.955" v="1865" actId="14100"/>
          <ac:spMkLst>
            <pc:docMk/>
            <pc:sldMk cId="2414038128" sldId="2475"/>
            <ac:spMk id="44" creationId="{4430DCD6-316A-46D5-85B9-7146A18FF468}"/>
          </ac:spMkLst>
        </pc:spChg>
        <pc:spChg chg="del">
          <ac:chgData name="Müller, Kurt (SI BP S TSS TR)" userId="e7e82c7e-80c6-42a5-ab71-24588885b7fe" providerId="ADAL" clId="{167FC261-9733-43D8-A9C5-B462733A4DDF}" dt="2021-10-04T15:09:56.742" v="1" actId="478"/>
          <ac:spMkLst>
            <pc:docMk/>
            <pc:sldMk cId="2414038128" sldId="2475"/>
            <ac:spMk id="44" creationId="{D4D05208-190B-46FA-9B8B-7C5E8A939559}"/>
          </ac:spMkLst>
        </pc:spChg>
        <pc:spChg chg="add mod">
          <ac:chgData name="Müller, Kurt (SI BP S TSS TR)" userId="e7e82c7e-80c6-42a5-ab71-24588885b7fe" providerId="ADAL" clId="{167FC261-9733-43D8-A9C5-B462733A4DDF}" dt="2021-10-06T09:17:33.942" v="1483" actId="1076"/>
          <ac:spMkLst>
            <pc:docMk/>
            <pc:sldMk cId="2414038128" sldId="2475"/>
            <ac:spMk id="46" creationId="{3E1E56DB-1EAA-4AB8-8268-F26E8116F71C}"/>
          </ac:spMkLst>
        </pc:spChg>
        <pc:spChg chg="add del">
          <ac:chgData name="Müller, Kurt (SI BP S TSS TR)" userId="e7e82c7e-80c6-42a5-ab71-24588885b7fe" providerId="ADAL" clId="{167FC261-9733-43D8-A9C5-B462733A4DDF}" dt="2021-10-04T20:50:15.887" v="95" actId="22"/>
          <ac:spMkLst>
            <pc:docMk/>
            <pc:sldMk cId="2414038128" sldId="2475"/>
            <ac:spMk id="46" creationId="{F4D1E66A-75B0-4E8E-9406-5CFBF191C6B8}"/>
          </ac:spMkLst>
        </pc:spChg>
        <pc:spChg chg="add mod">
          <ac:chgData name="Müller, Kurt (SI BP S TSS TR)" userId="e7e82c7e-80c6-42a5-ab71-24588885b7fe" providerId="ADAL" clId="{167FC261-9733-43D8-A9C5-B462733A4DDF}" dt="2021-10-06T09:17:24.268" v="1479" actId="1076"/>
          <ac:spMkLst>
            <pc:docMk/>
            <pc:sldMk cId="2414038128" sldId="2475"/>
            <ac:spMk id="48" creationId="{0F8BF70E-70A7-464E-9AF0-0DD7607F9183}"/>
          </ac:spMkLst>
        </pc:spChg>
        <pc:spChg chg="mod">
          <ac:chgData name="Müller, Kurt (SI BP S TSS TR)" userId="e7e82c7e-80c6-42a5-ab71-24588885b7fe" providerId="ADAL" clId="{167FC261-9733-43D8-A9C5-B462733A4DDF}" dt="2021-10-06T09:15:23.846" v="1453" actId="1076"/>
          <ac:spMkLst>
            <pc:docMk/>
            <pc:sldMk cId="2414038128" sldId="2475"/>
            <ac:spMk id="49" creationId="{8F07D972-2010-478D-8F61-6214AF8D6993}"/>
          </ac:spMkLst>
        </pc:spChg>
        <pc:spChg chg="mod">
          <ac:chgData name="Müller, Kurt (SI BP S TSS TR)" userId="e7e82c7e-80c6-42a5-ab71-24588885b7fe" providerId="ADAL" clId="{167FC261-9733-43D8-A9C5-B462733A4DDF}" dt="2021-10-06T09:15:49.973" v="1459" actId="1076"/>
          <ac:spMkLst>
            <pc:docMk/>
            <pc:sldMk cId="2414038128" sldId="2475"/>
            <ac:spMk id="50" creationId="{5D3094BA-4948-49B0-88C0-06E9BD516395}"/>
          </ac:spMkLst>
        </pc:spChg>
        <pc:spChg chg="add del mod">
          <ac:chgData name="Müller, Kurt (SI BP S TSS TR)" userId="e7e82c7e-80c6-42a5-ab71-24588885b7fe" providerId="ADAL" clId="{167FC261-9733-43D8-A9C5-B462733A4DDF}" dt="2021-10-06T09:09:43.217" v="1384" actId="478"/>
          <ac:spMkLst>
            <pc:docMk/>
            <pc:sldMk cId="2414038128" sldId="2475"/>
            <ac:spMk id="51" creationId="{E1512C0D-D0E1-4817-96C2-F17AED693E10}"/>
          </ac:spMkLst>
        </pc:spChg>
        <pc:spChg chg="add mod">
          <ac:chgData name="Müller, Kurt (SI BP S TSS TR)" userId="e7e82c7e-80c6-42a5-ab71-24588885b7fe" providerId="ADAL" clId="{167FC261-9733-43D8-A9C5-B462733A4DDF}" dt="2021-10-06T09:17:31.182" v="1482" actId="1076"/>
          <ac:spMkLst>
            <pc:docMk/>
            <pc:sldMk cId="2414038128" sldId="2475"/>
            <ac:spMk id="52" creationId="{3544DC73-7953-4D12-A0B3-94D6AFC729BE}"/>
          </ac:spMkLst>
        </pc:spChg>
        <pc:picChg chg="del">
          <ac:chgData name="Müller, Kurt (SI BP S TSS TR)" userId="e7e82c7e-80c6-42a5-ab71-24588885b7fe" providerId="ADAL" clId="{167FC261-9733-43D8-A9C5-B462733A4DDF}" dt="2021-10-06T09:17:12.643" v="1475" actId="478"/>
          <ac:picMkLst>
            <pc:docMk/>
            <pc:sldMk cId="2414038128" sldId="2475"/>
            <ac:picMk id="6" creationId="{92937E9E-BB14-4FC5-8409-11A5D163CA6A}"/>
          </ac:picMkLst>
        </pc:picChg>
        <pc:picChg chg="mod">
          <ac:chgData name="Müller, Kurt (SI BP S TSS TR)" userId="e7e82c7e-80c6-42a5-ab71-24588885b7fe" providerId="ADAL" clId="{167FC261-9733-43D8-A9C5-B462733A4DDF}" dt="2021-10-06T09:15:21.578" v="1452" actId="1076"/>
          <ac:picMkLst>
            <pc:docMk/>
            <pc:sldMk cId="2414038128" sldId="2475"/>
            <ac:picMk id="7" creationId="{A3C3A532-41A4-41C1-863C-94718EEB5C35}"/>
          </ac:picMkLst>
        </pc:picChg>
        <pc:picChg chg="mod">
          <ac:chgData name="Müller, Kurt (SI BP S TSS TR)" userId="e7e82c7e-80c6-42a5-ab71-24588885b7fe" providerId="ADAL" clId="{167FC261-9733-43D8-A9C5-B462733A4DDF}" dt="2021-10-06T11:53:18.764" v="1864" actId="14100"/>
          <ac:picMkLst>
            <pc:docMk/>
            <pc:sldMk cId="2414038128" sldId="2475"/>
            <ac:picMk id="8" creationId="{6889586A-02FB-49AB-B057-CB14DAB72987}"/>
          </ac:picMkLst>
        </pc:picChg>
        <pc:picChg chg="mod">
          <ac:chgData name="Müller, Kurt (SI BP S TSS TR)" userId="e7e82c7e-80c6-42a5-ab71-24588885b7fe" providerId="ADAL" clId="{167FC261-9733-43D8-A9C5-B462733A4DDF}" dt="2021-10-04T20:59:20.555" v="134" actId="14100"/>
          <ac:picMkLst>
            <pc:docMk/>
            <pc:sldMk cId="2414038128" sldId="2475"/>
            <ac:picMk id="11" creationId="{89287F33-3A37-41D4-8631-1D51F8F790A8}"/>
          </ac:picMkLst>
        </pc:picChg>
        <pc:picChg chg="add del mod">
          <ac:chgData name="Müller, Kurt (SI BP S TSS TR)" userId="e7e82c7e-80c6-42a5-ab71-24588885b7fe" providerId="ADAL" clId="{167FC261-9733-43D8-A9C5-B462733A4DDF}" dt="2021-10-06T09:05:24.725" v="1358" actId="478"/>
          <ac:picMkLst>
            <pc:docMk/>
            <pc:sldMk cId="2414038128" sldId="2475"/>
            <ac:picMk id="12" creationId="{C0BF0B50-74CA-44D2-A304-516AB5FB3CD1}"/>
          </ac:picMkLst>
        </pc:picChg>
        <pc:picChg chg="mod">
          <ac:chgData name="Müller, Kurt (SI BP S TSS TR)" userId="e7e82c7e-80c6-42a5-ab71-24588885b7fe" providerId="ADAL" clId="{167FC261-9733-43D8-A9C5-B462733A4DDF}" dt="2021-10-04T20:59:27.428" v="136" actId="14100"/>
          <ac:picMkLst>
            <pc:docMk/>
            <pc:sldMk cId="2414038128" sldId="2475"/>
            <ac:picMk id="26" creationId="{A94DF6E7-A3C6-44CA-AAFB-28C7CD605DE7}"/>
          </ac:picMkLst>
        </pc:picChg>
        <pc:picChg chg="add mod">
          <ac:chgData name="Müller, Kurt (SI BP S TSS TR)" userId="e7e82c7e-80c6-42a5-ab71-24588885b7fe" providerId="ADAL" clId="{167FC261-9733-43D8-A9C5-B462733A4DDF}" dt="2021-10-06T09:17:20.324" v="1478" actId="1076"/>
          <ac:picMkLst>
            <pc:docMk/>
            <pc:sldMk cId="2414038128" sldId="2475"/>
            <ac:picMk id="57" creationId="{91A90EE3-D4FF-4223-888B-F121FDDA1828}"/>
          </ac:picMkLst>
        </pc:picChg>
        <pc:cxnChg chg="mod">
          <ac:chgData name="Müller, Kurt (SI BP S TSS TR)" userId="e7e82c7e-80c6-42a5-ab71-24588885b7fe" providerId="ADAL" clId="{167FC261-9733-43D8-A9C5-B462733A4DDF}" dt="2021-10-06T09:16:04.116" v="1460" actId="14100"/>
          <ac:cxnSpMkLst>
            <pc:docMk/>
            <pc:sldMk cId="2414038128" sldId="2475"/>
            <ac:cxnSpMk id="4" creationId="{7B8A7F63-7BC1-4463-B782-2A380799D3E2}"/>
          </ac:cxnSpMkLst>
        </pc:cxnChg>
        <pc:cxnChg chg="mod">
          <ac:chgData name="Müller, Kurt (SI BP S TSS TR)" userId="e7e82c7e-80c6-42a5-ab71-24588885b7fe" providerId="ADAL" clId="{167FC261-9733-43D8-A9C5-B462733A4DDF}" dt="2021-10-06T09:11:27.269" v="1428" actId="14100"/>
          <ac:cxnSpMkLst>
            <pc:docMk/>
            <pc:sldMk cId="2414038128" sldId="2475"/>
            <ac:cxnSpMk id="22" creationId="{4D321D47-476C-4A70-A3F4-6BE379863E16}"/>
          </ac:cxnSpMkLst>
        </pc:cxnChg>
        <pc:cxnChg chg="del mod">
          <ac:chgData name="Müller, Kurt (SI BP S TSS TR)" userId="e7e82c7e-80c6-42a5-ab71-24588885b7fe" providerId="ADAL" clId="{167FC261-9733-43D8-A9C5-B462733A4DDF}" dt="2021-10-06T09:16:18.044" v="1466" actId="478"/>
          <ac:cxnSpMkLst>
            <pc:docMk/>
            <pc:sldMk cId="2414038128" sldId="2475"/>
            <ac:cxnSpMk id="36" creationId="{95F0DDC9-E39A-4BF6-A5DE-377ECBC6038B}"/>
          </ac:cxnSpMkLst>
        </pc:cxnChg>
        <pc:cxnChg chg="del">
          <ac:chgData name="Müller, Kurt (SI BP S TSS TR)" userId="e7e82c7e-80c6-42a5-ab71-24588885b7fe" providerId="ADAL" clId="{167FC261-9733-43D8-A9C5-B462733A4DDF}" dt="2021-10-06T09:06:11.517" v="1365" actId="478"/>
          <ac:cxnSpMkLst>
            <pc:docMk/>
            <pc:sldMk cId="2414038128" sldId="2475"/>
            <ac:cxnSpMk id="37" creationId="{7D31A30E-7C32-4641-B2FC-822D11BE19E6}"/>
          </ac:cxnSpMkLst>
        </pc:cxnChg>
        <pc:cxnChg chg="mod">
          <ac:chgData name="Müller, Kurt (SI BP S TSS TR)" userId="e7e82c7e-80c6-42a5-ab71-24588885b7fe" providerId="ADAL" clId="{167FC261-9733-43D8-A9C5-B462733A4DDF}" dt="2021-10-04T20:59:27.428" v="136" actId="14100"/>
          <ac:cxnSpMkLst>
            <pc:docMk/>
            <pc:sldMk cId="2414038128" sldId="2475"/>
            <ac:cxnSpMk id="39" creationId="{F58B6CA4-9F5A-4032-AA62-E5E6D478C361}"/>
          </ac:cxnSpMkLst>
        </pc:cxnChg>
        <pc:cxnChg chg="add mod">
          <ac:chgData name="Müller, Kurt (SI BP S TSS TR)" userId="e7e82c7e-80c6-42a5-ab71-24588885b7fe" providerId="ADAL" clId="{167FC261-9733-43D8-A9C5-B462733A4DDF}" dt="2021-10-06T09:13:51.366" v="1439" actId="14100"/>
          <ac:cxnSpMkLst>
            <pc:docMk/>
            <pc:sldMk cId="2414038128" sldId="2475"/>
            <ac:cxnSpMk id="53" creationId="{401AD564-C527-4D4E-9BD1-5C5326287E65}"/>
          </ac:cxnSpMkLst>
        </pc:cxnChg>
        <pc:cxnChg chg="add mod">
          <ac:chgData name="Müller, Kurt (SI BP S TSS TR)" userId="e7e82c7e-80c6-42a5-ab71-24588885b7fe" providerId="ADAL" clId="{167FC261-9733-43D8-A9C5-B462733A4DDF}" dt="2021-10-06T09:16:24.194" v="1469" actId="1076"/>
          <ac:cxnSpMkLst>
            <pc:docMk/>
            <pc:sldMk cId="2414038128" sldId="2475"/>
            <ac:cxnSpMk id="55" creationId="{978EFF0E-64AC-4292-8C3F-54F72A3F337D}"/>
          </ac:cxnSpMkLst>
        </pc:cxnChg>
        <pc:cxnChg chg="add mod">
          <ac:chgData name="Müller, Kurt (SI BP S TSS TR)" userId="e7e82c7e-80c6-42a5-ab71-24588885b7fe" providerId="ADAL" clId="{167FC261-9733-43D8-A9C5-B462733A4DDF}" dt="2021-10-06T09:16:14.682" v="1464" actId="571"/>
          <ac:cxnSpMkLst>
            <pc:docMk/>
            <pc:sldMk cId="2414038128" sldId="2475"/>
            <ac:cxnSpMk id="58" creationId="{6F1759E1-9AD1-448A-BCC1-00BC1C735B0B}"/>
          </ac:cxnSpMkLst>
        </pc:cxnChg>
      </pc:sldChg>
      <pc:sldChg chg="addSp delSp modSp mod">
        <pc:chgData name="Müller, Kurt (SI BP S TSS TR)" userId="e7e82c7e-80c6-42a5-ab71-24588885b7fe" providerId="ADAL" clId="{167FC261-9733-43D8-A9C5-B462733A4DDF}" dt="2021-10-06T11:20:40.820" v="1629" actId="13926"/>
        <pc:sldMkLst>
          <pc:docMk/>
          <pc:sldMk cId="65606037" sldId="2494"/>
        </pc:sldMkLst>
        <pc:spChg chg="add del mod">
          <ac:chgData name="Müller, Kurt (SI BP S TSS TR)" userId="e7e82c7e-80c6-42a5-ab71-24588885b7fe" providerId="ADAL" clId="{167FC261-9733-43D8-A9C5-B462733A4DDF}" dt="2021-10-06T07:26:52.720" v="615" actId="478"/>
          <ac:spMkLst>
            <pc:docMk/>
            <pc:sldMk cId="65606037" sldId="2494"/>
            <ac:spMk id="2" creationId="{7EA0448B-35DF-44B1-A9BE-629C293FAB6A}"/>
          </ac:spMkLst>
        </pc:spChg>
        <pc:spChg chg="add mod">
          <ac:chgData name="Müller, Kurt (SI BP S TSS TR)" userId="e7e82c7e-80c6-42a5-ab71-24588885b7fe" providerId="ADAL" clId="{167FC261-9733-43D8-A9C5-B462733A4DDF}" dt="2021-10-06T08:52:42.805" v="1206" actId="13926"/>
          <ac:spMkLst>
            <pc:docMk/>
            <pc:sldMk cId="65606037" sldId="2494"/>
            <ac:spMk id="3" creationId="{1326DB47-DCDD-44D2-8DB8-17864D874934}"/>
          </ac:spMkLst>
        </pc:spChg>
        <pc:spChg chg="add mod">
          <ac:chgData name="Müller, Kurt (SI BP S TSS TR)" userId="e7e82c7e-80c6-42a5-ab71-24588885b7fe" providerId="ADAL" clId="{167FC261-9733-43D8-A9C5-B462733A4DDF}" dt="2021-10-06T07:23:38.128" v="605" actId="164"/>
          <ac:spMkLst>
            <pc:docMk/>
            <pc:sldMk cId="65606037" sldId="2494"/>
            <ac:spMk id="4" creationId="{89DA71E5-236E-4693-A759-9A81BD3E7395}"/>
          </ac:spMkLst>
        </pc:spChg>
        <pc:spChg chg="add del mod">
          <ac:chgData name="Müller, Kurt (SI BP S TSS TR)" userId="e7e82c7e-80c6-42a5-ab71-24588885b7fe" providerId="ADAL" clId="{167FC261-9733-43D8-A9C5-B462733A4DDF}" dt="2021-10-06T07:32:29.821" v="993" actId="478"/>
          <ac:spMkLst>
            <pc:docMk/>
            <pc:sldMk cId="65606037" sldId="2494"/>
            <ac:spMk id="8" creationId="{98458CD2-125F-40B4-A9C8-5E9BCC598F2C}"/>
          </ac:spMkLst>
        </pc:spChg>
        <pc:spChg chg="add mod">
          <ac:chgData name="Müller, Kurt (SI BP S TSS TR)" userId="e7e82c7e-80c6-42a5-ab71-24588885b7fe" providerId="ADAL" clId="{167FC261-9733-43D8-A9C5-B462733A4DDF}" dt="2021-10-06T07:25:25.543" v="612" actId="207"/>
          <ac:spMkLst>
            <pc:docMk/>
            <pc:sldMk cId="65606037" sldId="2494"/>
            <ac:spMk id="9" creationId="{4417076C-C6EC-49AC-9502-9A948DB66272}"/>
          </ac:spMkLst>
        </pc:spChg>
        <pc:spChg chg="add mod">
          <ac:chgData name="Müller, Kurt (SI BP S TSS TR)" userId="e7e82c7e-80c6-42a5-ab71-24588885b7fe" providerId="ADAL" clId="{167FC261-9733-43D8-A9C5-B462733A4DDF}" dt="2021-10-06T08:53:12.738" v="1210" actId="13926"/>
          <ac:spMkLst>
            <pc:docMk/>
            <pc:sldMk cId="65606037" sldId="2494"/>
            <ac:spMk id="12" creationId="{CE288F78-63F7-4077-9A9C-C5A6024716E3}"/>
          </ac:spMkLst>
        </pc:spChg>
        <pc:spChg chg="add mod">
          <ac:chgData name="Müller, Kurt (SI BP S TSS TR)" userId="e7e82c7e-80c6-42a5-ab71-24588885b7fe" providerId="ADAL" clId="{167FC261-9733-43D8-A9C5-B462733A4DDF}" dt="2021-10-06T07:23:38.128" v="605" actId="164"/>
          <ac:spMkLst>
            <pc:docMk/>
            <pc:sldMk cId="65606037" sldId="2494"/>
            <ac:spMk id="13" creationId="{31788C5A-F434-43B8-A008-583CB352679D}"/>
          </ac:spMkLst>
        </pc:spChg>
        <pc:spChg chg="add mod">
          <ac:chgData name="Müller, Kurt (SI BP S TSS TR)" userId="e7e82c7e-80c6-42a5-ab71-24588885b7fe" providerId="ADAL" clId="{167FC261-9733-43D8-A9C5-B462733A4DDF}" dt="2021-10-06T07:23:38.128" v="605" actId="164"/>
          <ac:spMkLst>
            <pc:docMk/>
            <pc:sldMk cId="65606037" sldId="2494"/>
            <ac:spMk id="14" creationId="{FF879392-0E31-41F4-8EDF-20052297EC14}"/>
          </ac:spMkLst>
        </pc:spChg>
        <pc:spChg chg="add del mod">
          <ac:chgData name="Müller, Kurt (SI BP S TSS TR)" userId="e7e82c7e-80c6-42a5-ab71-24588885b7fe" providerId="ADAL" clId="{167FC261-9733-43D8-A9C5-B462733A4DDF}" dt="2021-10-06T08:53:00.471" v="1208" actId="478"/>
          <ac:spMkLst>
            <pc:docMk/>
            <pc:sldMk cId="65606037" sldId="2494"/>
            <ac:spMk id="15" creationId="{51083D99-D3D0-4327-A4E9-BE16C02506BA}"/>
          </ac:spMkLst>
        </pc:spChg>
        <pc:spChg chg="mod">
          <ac:chgData name="Müller, Kurt (SI BP S TSS TR)" userId="e7e82c7e-80c6-42a5-ab71-24588885b7fe" providerId="ADAL" clId="{167FC261-9733-43D8-A9C5-B462733A4DDF}" dt="2021-10-06T11:19:54.357" v="1620" actId="6549"/>
          <ac:spMkLst>
            <pc:docMk/>
            <pc:sldMk cId="65606037" sldId="2494"/>
            <ac:spMk id="16" creationId="{E55DB4A8-8483-43B1-BEC7-B0701E6D6039}"/>
          </ac:spMkLst>
        </pc:spChg>
        <pc:spChg chg="add del mod ord">
          <ac:chgData name="Müller, Kurt (SI BP S TSS TR)" userId="e7e82c7e-80c6-42a5-ab71-24588885b7fe" providerId="ADAL" clId="{167FC261-9733-43D8-A9C5-B462733A4DDF}" dt="2021-10-06T11:19:12.307" v="1557" actId="478"/>
          <ac:spMkLst>
            <pc:docMk/>
            <pc:sldMk cId="65606037" sldId="2494"/>
            <ac:spMk id="17" creationId="{AB150C28-7CB1-42AB-9539-3777C267FC54}"/>
          </ac:spMkLst>
        </pc:spChg>
        <pc:spChg chg="mod topLvl">
          <ac:chgData name="Müller, Kurt (SI BP S TSS TR)" userId="e7e82c7e-80c6-42a5-ab71-24588885b7fe" providerId="ADAL" clId="{167FC261-9733-43D8-A9C5-B462733A4DDF}" dt="2021-10-06T08:51:28.991" v="1188" actId="13926"/>
          <ac:spMkLst>
            <pc:docMk/>
            <pc:sldMk cId="65606037" sldId="2494"/>
            <ac:spMk id="19" creationId="{5F5D2EA1-55A1-4B94-8EAC-8ED5AB09F448}"/>
          </ac:spMkLst>
        </pc:spChg>
        <pc:spChg chg="mod topLvl">
          <ac:chgData name="Müller, Kurt (SI BP S TSS TR)" userId="e7e82c7e-80c6-42a5-ab71-24588885b7fe" providerId="ADAL" clId="{167FC261-9733-43D8-A9C5-B462733A4DDF}" dt="2021-10-06T11:19:37.516" v="1617" actId="13926"/>
          <ac:spMkLst>
            <pc:docMk/>
            <pc:sldMk cId="65606037" sldId="2494"/>
            <ac:spMk id="20" creationId="{47CCF518-F797-4B8D-8B24-29BDD5EBB0E6}"/>
          </ac:spMkLst>
        </pc:spChg>
        <pc:spChg chg="del mod">
          <ac:chgData name="Müller, Kurt (SI BP S TSS TR)" userId="e7e82c7e-80c6-42a5-ab71-24588885b7fe" providerId="ADAL" clId="{167FC261-9733-43D8-A9C5-B462733A4DDF}" dt="2021-10-06T07:27:32.319" v="663" actId="478"/>
          <ac:spMkLst>
            <pc:docMk/>
            <pc:sldMk cId="65606037" sldId="2494"/>
            <ac:spMk id="22" creationId="{3B783ACB-0750-41CE-AE8A-9D6EB640E4D1}"/>
          </ac:spMkLst>
        </pc:spChg>
        <pc:spChg chg="del mod">
          <ac:chgData name="Müller, Kurt (SI BP S TSS TR)" userId="e7e82c7e-80c6-42a5-ab71-24588885b7fe" providerId="ADAL" clId="{167FC261-9733-43D8-A9C5-B462733A4DDF}" dt="2021-10-06T07:27:32.319" v="663" actId="478"/>
          <ac:spMkLst>
            <pc:docMk/>
            <pc:sldMk cId="65606037" sldId="2494"/>
            <ac:spMk id="23" creationId="{CC8CC511-1F1B-4737-89A3-0A113D051FE7}"/>
          </ac:spMkLst>
        </pc:spChg>
        <pc:spChg chg="del mod">
          <ac:chgData name="Müller, Kurt (SI BP S TSS TR)" userId="e7e82c7e-80c6-42a5-ab71-24588885b7fe" providerId="ADAL" clId="{167FC261-9733-43D8-A9C5-B462733A4DDF}" dt="2021-10-06T07:27:32.319" v="663" actId="478"/>
          <ac:spMkLst>
            <pc:docMk/>
            <pc:sldMk cId="65606037" sldId="2494"/>
            <ac:spMk id="24" creationId="{D785B9CD-2FCD-4EFD-98A5-770B211A2451}"/>
          </ac:spMkLst>
        </pc:spChg>
        <pc:spChg chg="del mod">
          <ac:chgData name="Müller, Kurt (SI BP S TSS TR)" userId="e7e82c7e-80c6-42a5-ab71-24588885b7fe" providerId="ADAL" clId="{167FC261-9733-43D8-A9C5-B462733A4DDF}" dt="2021-10-06T07:27:32.319" v="663" actId="478"/>
          <ac:spMkLst>
            <pc:docMk/>
            <pc:sldMk cId="65606037" sldId="2494"/>
            <ac:spMk id="25" creationId="{77D47677-DF22-40A8-9F34-D39AD7084A81}"/>
          </ac:spMkLst>
        </pc:spChg>
        <pc:spChg chg="add mod">
          <ac:chgData name="Müller, Kurt (SI BP S TSS TR)" userId="e7e82c7e-80c6-42a5-ab71-24588885b7fe" providerId="ADAL" clId="{167FC261-9733-43D8-A9C5-B462733A4DDF}" dt="2021-10-06T11:20:40.820" v="1629" actId="13926"/>
          <ac:spMkLst>
            <pc:docMk/>
            <pc:sldMk cId="65606037" sldId="2494"/>
            <ac:spMk id="27" creationId="{69D7FF89-3553-4650-B3C1-2868EB888E56}"/>
          </ac:spMkLst>
        </pc:spChg>
        <pc:grpChg chg="add mod">
          <ac:chgData name="Müller, Kurt (SI BP S TSS TR)" userId="e7e82c7e-80c6-42a5-ab71-24588885b7fe" providerId="ADAL" clId="{167FC261-9733-43D8-A9C5-B462733A4DDF}" dt="2021-10-06T07:24:07.181" v="608" actId="164"/>
          <ac:grpSpMkLst>
            <pc:docMk/>
            <pc:sldMk cId="65606037" sldId="2494"/>
            <ac:grpSpMk id="5" creationId="{2CB199D8-3A43-4825-9A3D-D0162BD9FF55}"/>
          </ac:grpSpMkLst>
        </pc:grpChg>
        <pc:grpChg chg="add mod">
          <ac:chgData name="Müller, Kurt (SI BP S TSS TR)" userId="e7e82c7e-80c6-42a5-ab71-24588885b7fe" providerId="ADAL" clId="{167FC261-9733-43D8-A9C5-B462733A4DDF}" dt="2021-10-06T07:24:10.448" v="609" actId="1076"/>
          <ac:grpSpMkLst>
            <pc:docMk/>
            <pc:sldMk cId="65606037" sldId="2494"/>
            <ac:grpSpMk id="7" creationId="{3190D153-B4AE-47EC-BF57-05D0F154FB08}"/>
          </ac:grpSpMkLst>
        </pc:grpChg>
        <pc:grpChg chg="add del mod">
          <ac:chgData name="Müller, Kurt (SI BP S TSS TR)" userId="e7e82c7e-80c6-42a5-ab71-24588885b7fe" providerId="ADAL" clId="{167FC261-9733-43D8-A9C5-B462733A4DDF}" dt="2021-10-06T07:33:10.867" v="994" actId="165"/>
          <ac:grpSpMkLst>
            <pc:docMk/>
            <pc:sldMk cId="65606037" sldId="2494"/>
            <ac:grpSpMk id="18" creationId="{05E46C61-5A88-4D96-9A10-C055AB0B080F}"/>
          </ac:grpSpMkLst>
        </pc:grpChg>
        <pc:grpChg chg="del mod">
          <ac:chgData name="Müller, Kurt (SI BP S TSS TR)" userId="e7e82c7e-80c6-42a5-ab71-24588885b7fe" providerId="ADAL" clId="{167FC261-9733-43D8-A9C5-B462733A4DDF}" dt="2021-10-06T07:27:32.319" v="663" actId="478"/>
          <ac:grpSpMkLst>
            <pc:docMk/>
            <pc:sldMk cId="65606037" sldId="2494"/>
            <ac:grpSpMk id="21" creationId="{110E5CB7-81F1-400A-80D5-A3E3AA7CB1F4}"/>
          </ac:grpSpMkLst>
        </pc:grpChg>
        <pc:picChg chg="del mod modCrop">
          <ac:chgData name="Müller, Kurt (SI BP S TSS TR)" userId="e7e82c7e-80c6-42a5-ab71-24588885b7fe" providerId="ADAL" clId="{167FC261-9733-43D8-A9C5-B462733A4DDF}" dt="2021-10-06T07:30:54.972" v="992" actId="478"/>
          <ac:picMkLst>
            <pc:docMk/>
            <pc:sldMk cId="65606037" sldId="2494"/>
            <ac:picMk id="6" creationId="{30CFD65F-84BE-4326-8DB8-75FA36A7A16F}"/>
          </ac:picMkLst>
        </pc:picChg>
      </pc:sldChg>
      <pc:sldChg chg="delSp modSp mod">
        <pc:chgData name="Müller, Kurt (SI BP S TSS TR)" userId="e7e82c7e-80c6-42a5-ab71-24588885b7fe" providerId="ADAL" clId="{167FC261-9733-43D8-A9C5-B462733A4DDF}" dt="2021-10-06T07:13:32.328" v="483" actId="1076"/>
        <pc:sldMkLst>
          <pc:docMk/>
          <pc:sldMk cId="370757316" sldId="2497"/>
        </pc:sldMkLst>
        <pc:spChg chg="del">
          <ac:chgData name="Müller, Kurt (SI BP S TSS TR)" userId="e7e82c7e-80c6-42a5-ab71-24588885b7fe" providerId="ADAL" clId="{167FC261-9733-43D8-A9C5-B462733A4DDF}" dt="2021-10-04T15:10:01.783" v="2" actId="478"/>
          <ac:spMkLst>
            <pc:docMk/>
            <pc:sldMk cId="370757316" sldId="2497"/>
            <ac:spMk id="12" creationId="{A4B2CF82-3A65-433D-BD22-7D52AEC002BE}"/>
          </ac:spMkLst>
        </pc:spChg>
        <pc:spChg chg="mod">
          <ac:chgData name="Müller, Kurt (SI BP S TSS TR)" userId="e7e82c7e-80c6-42a5-ab71-24588885b7fe" providerId="ADAL" clId="{167FC261-9733-43D8-A9C5-B462733A4DDF}" dt="2021-10-05T07:57:05.153" v="255" actId="108"/>
          <ac:spMkLst>
            <pc:docMk/>
            <pc:sldMk cId="370757316" sldId="2497"/>
            <ac:spMk id="15" creationId="{D1A8907A-6719-4AA8-8F19-336F7EA8BF93}"/>
          </ac:spMkLst>
        </pc:spChg>
        <pc:spChg chg="mod">
          <ac:chgData name="Müller, Kurt (SI BP S TSS TR)" userId="e7e82c7e-80c6-42a5-ab71-24588885b7fe" providerId="ADAL" clId="{167FC261-9733-43D8-A9C5-B462733A4DDF}" dt="2021-10-06T07:13:29.268" v="482" actId="14100"/>
          <ac:spMkLst>
            <pc:docMk/>
            <pc:sldMk cId="370757316" sldId="2497"/>
            <ac:spMk id="28" creationId="{0E80F07F-4042-402D-AA78-ED4E6DDDE9C0}"/>
          </ac:spMkLst>
        </pc:spChg>
        <pc:picChg chg="mod">
          <ac:chgData name="Müller, Kurt (SI BP S TSS TR)" userId="e7e82c7e-80c6-42a5-ab71-24588885b7fe" providerId="ADAL" clId="{167FC261-9733-43D8-A9C5-B462733A4DDF}" dt="2021-10-06T07:13:32.328" v="483" actId="1076"/>
          <ac:picMkLst>
            <pc:docMk/>
            <pc:sldMk cId="370757316" sldId="2497"/>
            <ac:picMk id="3" creationId="{C5583FD8-193B-4FFC-BD9A-059E252C9C43}"/>
          </ac:picMkLst>
        </pc:picChg>
      </pc:sldChg>
      <pc:sldChg chg="addSp delSp modSp mod">
        <pc:chgData name="Müller, Kurt (SI BP S TSS TR)" userId="e7e82c7e-80c6-42a5-ab71-24588885b7fe" providerId="ADAL" clId="{167FC261-9733-43D8-A9C5-B462733A4DDF}" dt="2021-10-06T11:16:13.043" v="1521" actId="1076"/>
        <pc:sldMkLst>
          <pc:docMk/>
          <pc:sldMk cId="1326469617" sldId="2502"/>
        </pc:sldMkLst>
        <pc:spChg chg="del">
          <ac:chgData name="Müller, Kurt (SI BP S TSS TR)" userId="e7e82c7e-80c6-42a5-ab71-24588885b7fe" providerId="ADAL" clId="{167FC261-9733-43D8-A9C5-B462733A4DDF}" dt="2021-10-04T15:09:51.194" v="0" actId="478"/>
          <ac:spMkLst>
            <pc:docMk/>
            <pc:sldMk cId="1326469617" sldId="2502"/>
            <ac:spMk id="12" creationId="{A4B2CF82-3A65-433D-BD22-7D52AEC002BE}"/>
          </ac:spMkLst>
        </pc:spChg>
        <pc:spChg chg="mod">
          <ac:chgData name="Müller, Kurt (SI BP S TSS TR)" userId="e7e82c7e-80c6-42a5-ab71-24588885b7fe" providerId="ADAL" clId="{167FC261-9733-43D8-A9C5-B462733A4DDF}" dt="2021-10-05T14:14:58.878" v="298" actId="20577"/>
          <ac:spMkLst>
            <pc:docMk/>
            <pc:sldMk cId="1326469617" sldId="2502"/>
            <ac:spMk id="13" creationId="{3972A43F-EB41-488D-8627-93CE8199840D}"/>
          </ac:spMkLst>
        </pc:spChg>
        <pc:spChg chg="del">
          <ac:chgData name="Müller, Kurt (SI BP S TSS TR)" userId="e7e82c7e-80c6-42a5-ab71-24588885b7fe" providerId="ADAL" clId="{167FC261-9733-43D8-A9C5-B462733A4DDF}" dt="2021-10-06T11:15:39.959" v="1514" actId="478"/>
          <ac:spMkLst>
            <pc:docMk/>
            <pc:sldMk cId="1326469617" sldId="2502"/>
            <ac:spMk id="17" creationId="{0DBA7403-27C6-4A0C-AEDC-0585BE97B632}"/>
          </ac:spMkLst>
        </pc:spChg>
        <pc:spChg chg="del">
          <ac:chgData name="Müller, Kurt (SI BP S TSS TR)" userId="e7e82c7e-80c6-42a5-ab71-24588885b7fe" providerId="ADAL" clId="{167FC261-9733-43D8-A9C5-B462733A4DDF}" dt="2021-10-06T11:14:27.235" v="1504" actId="478"/>
          <ac:spMkLst>
            <pc:docMk/>
            <pc:sldMk cId="1326469617" sldId="2502"/>
            <ac:spMk id="18" creationId="{40997B31-84D6-40DD-8F5F-D95DA047F15A}"/>
          </ac:spMkLst>
        </pc:spChg>
        <pc:spChg chg="mod">
          <ac:chgData name="Müller, Kurt (SI BP S TSS TR)" userId="e7e82c7e-80c6-42a5-ab71-24588885b7fe" providerId="ADAL" clId="{167FC261-9733-43D8-A9C5-B462733A4DDF}" dt="2021-10-06T11:15:35.099" v="1512" actId="1076"/>
          <ac:spMkLst>
            <pc:docMk/>
            <pc:sldMk cId="1326469617" sldId="2502"/>
            <ac:spMk id="19" creationId="{A445511D-AB73-4FF7-A3B6-93F7C8247A9A}"/>
          </ac:spMkLst>
        </pc:spChg>
        <pc:spChg chg="mod">
          <ac:chgData name="Müller, Kurt (SI BP S TSS TR)" userId="e7e82c7e-80c6-42a5-ab71-24588885b7fe" providerId="ADAL" clId="{167FC261-9733-43D8-A9C5-B462733A4DDF}" dt="2021-10-06T11:16:13.043" v="1521" actId="1076"/>
          <ac:spMkLst>
            <pc:docMk/>
            <pc:sldMk cId="1326469617" sldId="2502"/>
            <ac:spMk id="20" creationId="{E42C6CA5-5E2A-4F98-9E61-D7B395A177D0}"/>
          </ac:spMkLst>
        </pc:spChg>
        <pc:picChg chg="add mod ord">
          <ac:chgData name="Müller, Kurt (SI BP S TSS TR)" userId="e7e82c7e-80c6-42a5-ab71-24588885b7fe" providerId="ADAL" clId="{167FC261-9733-43D8-A9C5-B462733A4DDF}" dt="2021-10-06T11:15:51.153" v="1516" actId="166"/>
          <ac:picMkLst>
            <pc:docMk/>
            <pc:sldMk cId="1326469617" sldId="2502"/>
            <ac:picMk id="4" creationId="{94CDB759-4FBE-43AE-85ED-1C52F9E220A9}"/>
          </ac:picMkLst>
        </pc:picChg>
        <pc:picChg chg="mod">
          <ac:chgData name="Müller, Kurt (SI BP S TSS TR)" userId="e7e82c7e-80c6-42a5-ab71-24588885b7fe" providerId="ADAL" clId="{167FC261-9733-43D8-A9C5-B462733A4DDF}" dt="2021-10-06T11:16:07.996" v="1520" actId="14100"/>
          <ac:picMkLst>
            <pc:docMk/>
            <pc:sldMk cId="1326469617" sldId="2502"/>
            <ac:picMk id="5" creationId="{B887B4AC-3A40-4E26-88F0-390EF985D601}"/>
          </ac:picMkLst>
        </pc:picChg>
        <pc:picChg chg="add mod modCrop">
          <ac:chgData name="Müller, Kurt (SI BP S TSS TR)" userId="e7e82c7e-80c6-42a5-ab71-24588885b7fe" providerId="ADAL" clId="{167FC261-9733-43D8-A9C5-B462733A4DDF}" dt="2021-10-06T11:14:33.717" v="1505" actId="1076"/>
          <ac:picMkLst>
            <pc:docMk/>
            <pc:sldMk cId="1326469617" sldId="2502"/>
            <ac:picMk id="6" creationId="{B8286DC2-B548-43AA-B845-561FAFAC8082}"/>
          </ac:picMkLst>
        </pc:picChg>
        <pc:picChg chg="add mod">
          <ac:chgData name="Müller, Kurt (SI BP S TSS TR)" userId="e7e82c7e-80c6-42a5-ab71-24588885b7fe" providerId="ADAL" clId="{167FC261-9733-43D8-A9C5-B462733A4DDF}" dt="2021-10-06T09:45:40" v="1502" actId="1076"/>
          <ac:picMkLst>
            <pc:docMk/>
            <pc:sldMk cId="1326469617" sldId="2502"/>
            <ac:picMk id="8" creationId="{FB49928F-85AF-4E5A-AA82-8E68B9BE09E6}"/>
          </ac:picMkLst>
        </pc:picChg>
        <pc:picChg chg="del">
          <ac:chgData name="Müller, Kurt (SI BP S TSS TR)" userId="e7e82c7e-80c6-42a5-ab71-24588885b7fe" providerId="ADAL" clId="{167FC261-9733-43D8-A9C5-B462733A4DDF}" dt="2021-10-06T11:14:39.484" v="1507" actId="478"/>
          <ac:picMkLst>
            <pc:docMk/>
            <pc:sldMk cId="1326469617" sldId="2502"/>
            <ac:picMk id="16" creationId="{A21E555C-C33B-4442-BDB4-834145AB956A}"/>
          </ac:picMkLst>
        </pc:picChg>
      </pc:sldChg>
      <pc:sldChg chg="addSp delSp modSp mod">
        <pc:chgData name="Müller, Kurt (SI BP S TSS TR)" userId="e7e82c7e-80c6-42a5-ab71-24588885b7fe" providerId="ADAL" clId="{167FC261-9733-43D8-A9C5-B462733A4DDF}" dt="2021-10-06T09:18:47.436" v="1484" actId="1076"/>
        <pc:sldMkLst>
          <pc:docMk/>
          <pc:sldMk cId="55984996" sldId="2503"/>
        </pc:sldMkLst>
        <pc:spChg chg="add mod">
          <ac:chgData name="Müller, Kurt (SI BP S TSS TR)" userId="e7e82c7e-80c6-42a5-ab71-24588885b7fe" providerId="ADAL" clId="{167FC261-9733-43D8-A9C5-B462733A4DDF}" dt="2021-10-06T07:00:33.563" v="337" actId="1037"/>
          <ac:spMkLst>
            <pc:docMk/>
            <pc:sldMk cId="55984996" sldId="2503"/>
            <ac:spMk id="2" creationId="{9EA6E5BE-080E-4783-BDD3-8B87E76AAB24}"/>
          </ac:spMkLst>
        </pc:spChg>
        <pc:spChg chg="add mod">
          <ac:chgData name="Müller, Kurt (SI BP S TSS TR)" userId="e7e82c7e-80c6-42a5-ab71-24588885b7fe" providerId="ADAL" clId="{167FC261-9733-43D8-A9C5-B462733A4DDF}" dt="2021-10-06T07:02:33.857" v="343" actId="14100"/>
          <ac:spMkLst>
            <pc:docMk/>
            <pc:sldMk cId="55984996" sldId="2503"/>
            <ac:spMk id="3" creationId="{12D8440B-F5EA-4AA7-85F2-A1EC6B47C172}"/>
          </ac:spMkLst>
        </pc:spChg>
        <pc:spChg chg="add mod">
          <ac:chgData name="Müller, Kurt (SI BP S TSS TR)" userId="e7e82c7e-80c6-42a5-ab71-24588885b7fe" providerId="ADAL" clId="{167FC261-9733-43D8-A9C5-B462733A4DDF}" dt="2021-10-06T07:09:05.267" v="432" actId="113"/>
          <ac:spMkLst>
            <pc:docMk/>
            <pc:sldMk cId="55984996" sldId="2503"/>
            <ac:spMk id="4" creationId="{D089D8CE-C5A6-4C37-A4D3-EDA480F742B3}"/>
          </ac:spMkLst>
        </pc:spChg>
        <pc:spChg chg="add mod">
          <ac:chgData name="Müller, Kurt (SI BP S TSS TR)" userId="e7e82c7e-80c6-42a5-ab71-24588885b7fe" providerId="ADAL" clId="{167FC261-9733-43D8-A9C5-B462733A4DDF}" dt="2021-10-06T07:09:46.029" v="448" actId="6549"/>
          <ac:spMkLst>
            <pc:docMk/>
            <pc:sldMk cId="55984996" sldId="2503"/>
            <ac:spMk id="5" creationId="{84C6BFE4-F01C-4A67-8646-D15A7946E10A}"/>
          </ac:spMkLst>
        </pc:spChg>
        <pc:spChg chg="add mod">
          <ac:chgData name="Müller, Kurt (SI BP S TSS TR)" userId="e7e82c7e-80c6-42a5-ab71-24588885b7fe" providerId="ADAL" clId="{167FC261-9733-43D8-A9C5-B462733A4DDF}" dt="2021-10-06T07:11:16.214" v="481" actId="20577"/>
          <ac:spMkLst>
            <pc:docMk/>
            <pc:sldMk cId="55984996" sldId="2503"/>
            <ac:spMk id="7" creationId="{937D1177-4BDD-4A17-BC91-76DD5F5AFC4C}"/>
          </ac:spMkLst>
        </pc:spChg>
        <pc:spChg chg="del">
          <ac:chgData name="Müller, Kurt (SI BP S TSS TR)" userId="e7e82c7e-80c6-42a5-ab71-24588885b7fe" providerId="ADAL" clId="{167FC261-9733-43D8-A9C5-B462733A4DDF}" dt="2021-10-04T15:10:05.847" v="3" actId="478"/>
          <ac:spMkLst>
            <pc:docMk/>
            <pc:sldMk cId="55984996" sldId="2503"/>
            <ac:spMk id="12" creationId="{A4B2CF82-3A65-433D-BD22-7D52AEC002BE}"/>
          </ac:spMkLst>
        </pc:spChg>
        <pc:spChg chg="mod">
          <ac:chgData name="Müller, Kurt (SI BP S TSS TR)" userId="e7e82c7e-80c6-42a5-ab71-24588885b7fe" providerId="ADAL" clId="{167FC261-9733-43D8-A9C5-B462733A4DDF}" dt="2021-10-04T21:10:24.017" v="247" actId="1076"/>
          <ac:spMkLst>
            <pc:docMk/>
            <pc:sldMk cId="55984996" sldId="2503"/>
            <ac:spMk id="14" creationId="{0B7DA2E3-DD35-4959-A381-356D4F5F3C82}"/>
          </ac:spMkLst>
        </pc:spChg>
        <pc:spChg chg="mod">
          <ac:chgData name="Müller, Kurt (SI BP S TSS TR)" userId="e7e82c7e-80c6-42a5-ab71-24588885b7fe" providerId="ADAL" clId="{167FC261-9733-43D8-A9C5-B462733A4DDF}" dt="2021-10-04T21:10:34.529" v="251" actId="1076"/>
          <ac:spMkLst>
            <pc:docMk/>
            <pc:sldMk cId="55984996" sldId="2503"/>
            <ac:spMk id="15" creationId="{D72E4F39-2C13-46DB-AB55-E2B6718383BD}"/>
          </ac:spMkLst>
        </pc:spChg>
        <pc:spChg chg="mod">
          <ac:chgData name="Müller, Kurt (SI BP S TSS TR)" userId="e7e82c7e-80c6-42a5-ab71-24588885b7fe" providerId="ADAL" clId="{167FC261-9733-43D8-A9C5-B462733A4DDF}" dt="2021-10-04T21:10:24.017" v="247" actId="1076"/>
          <ac:spMkLst>
            <pc:docMk/>
            <pc:sldMk cId="55984996" sldId="2503"/>
            <ac:spMk id="19" creationId="{DF9D902B-6E65-4DEC-9E0B-9693ECDB5837}"/>
          </ac:spMkLst>
        </pc:spChg>
        <pc:spChg chg="add mod">
          <ac:chgData name="Müller, Kurt (SI BP S TSS TR)" userId="e7e82c7e-80c6-42a5-ab71-24588885b7fe" providerId="ADAL" clId="{167FC261-9733-43D8-A9C5-B462733A4DDF}" dt="2021-10-06T07:01:17.205" v="338" actId="571"/>
          <ac:spMkLst>
            <pc:docMk/>
            <pc:sldMk cId="55984996" sldId="2503"/>
            <ac:spMk id="20" creationId="{29DCA9F9-F14A-4F00-889A-87E629168E88}"/>
          </ac:spMkLst>
        </pc:spChg>
        <pc:spChg chg="add del mod">
          <ac:chgData name="Müller, Kurt (SI BP S TSS TR)" userId="e7e82c7e-80c6-42a5-ab71-24588885b7fe" providerId="ADAL" clId="{167FC261-9733-43D8-A9C5-B462733A4DDF}" dt="2021-10-06T07:07:52.704" v="381" actId="478"/>
          <ac:spMkLst>
            <pc:docMk/>
            <pc:sldMk cId="55984996" sldId="2503"/>
            <ac:spMk id="22" creationId="{49589B62-9957-4D86-A193-086DBB0B3A61}"/>
          </ac:spMkLst>
        </pc:spChg>
        <pc:grpChg chg="mod">
          <ac:chgData name="Müller, Kurt (SI BP S TSS TR)" userId="e7e82c7e-80c6-42a5-ab71-24588885b7fe" providerId="ADAL" clId="{167FC261-9733-43D8-A9C5-B462733A4DDF}" dt="2021-10-04T21:10:24.017" v="247" actId="1076"/>
          <ac:grpSpMkLst>
            <pc:docMk/>
            <pc:sldMk cId="55984996" sldId="2503"/>
            <ac:grpSpMk id="17" creationId="{053E505F-4032-4628-96EE-B152CFA25123}"/>
          </ac:grpSpMkLst>
        </pc:grpChg>
        <pc:picChg chg="mod">
          <ac:chgData name="Müller, Kurt (SI BP S TSS TR)" userId="e7e82c7e-80c6-42a5-ab71-24588885b7fe" providerId="ADAL" clId="{167FC261-9733-43D8-A9C5-B462733A4DDF}" dt="2021-10-04T21:10:30.632" v="250" actId="14100"/>
          <ac:picMkLst>
            <pc:docMk/>
            <pc:sldMk cId="55984996" sldId="2503"/>
            <ac:picMk id="6" creationId="{6112E28D-1D4F-4145-91CD-FF1949D1BA62}"/>
          </ac:picMkLst>
        </pc:picChg>
        <pc:picChg chg="mod">
          <ac:chgData name="Müller, Kurt (SI BP S TSS TR)" userId="e7e82c7e-80c6-42a5-ab71-24588885b7fe" providerId="ADAL" clId="{167FC261-9733-43D8-A9C5-B462733A4DDF}" dt="2021-10-04T21:10:24.017" v="247" actId="1076"/>
          <ac:picMkLst>
            <pc:docMk/>
            <pc:sldMk cId="55984996" sldId="2503"/>
            <ac:picMk id="13" creationId="{93B839A2-5859-4CE3-BFBF-A5189E95A6B5}"/>
          </ac:picMkLst>
        </pc:picChg>
        <pc:picChg chg="mod">
          <ac:chgData name="Müller, Kurt (SI BP S TSS TR)" userId="e7e82c7e-80c6-42a5-ab71-24588885b7fe" providerId="ADAL" clId="{167FC261-9733-43D8-A9C5-B462733A4DDF}" dt="2021-10-04T21:10:24.017" v="247" actId="1076"/>
          <ac:picMkLst>
            <pc:docMk/>
            <pc:sldMk cId="55984996" sldId="2503"/>
            <ac:picMk id="18" creationId="{98913824-CF65-47AC-AAB5-EF25427EFFBA}"/>
          </ac:picMkLst>
        </pc:picChg>
        <pc:picChg chg="add mod">
          <ac:chgData name="Müller, Kurt (SI BP S TSS TR)" userId="e7e82c7e-80c6-42a5-ab71-24588885b7fe" providerId="ADAL" clId="{167FC261-9733-43D8-A9C5-B462733A4DDF}" dt="2021-10-06T09:18:47.436" v="1484" actId="1076"/>
          <ac:picMkLst>
            <pc:docMk/>
            <pc:sldMk cId="55984996" sldId="2503"/>
            <ac:picMk id="21" creationId="{001B6050-3586-4046-AC81-1FBAB76E1A6C}"/>
          </ac:picMkLst>
        </pc:picChg>
      </pc:sldChg>
      <pc:sldChg chg="delSp mod">
        <pc:chgData name="Müller, Kurt (SI BP S TSS TR)" userId="e7e82c7e-80c6-42a5-ab71-24588885b7fe" providerId="ADAL" clId="{167FC261-9733-43D8-A9C5-B462733A4DDF}" dt="2021-10-04T15:10:12.665" v="4" actId="478"/>
        <pc:sldMkLst>
          <pc:docMk/>
          <pc:sldMk cId="3365061032" sldId="2504"/>
        </pc:sldMkLst>
        <pc:spChg chg="del">
          <ac:chgData name="Müller, Kurt (SI BP S TSS TR)" userId="e7e82c7e-80c6-42a5-ab71-24588885b7fe" providerId="ADAL" clId="{167FC261-9733-43D8-A9C5-B462733A4DDF}" dt="2021-10-04T15:10:12.665" v="4" actId="478"/>
          <ac:spMkLst>
            <pc:docMk/>
            <pc:sldMk cId="3365061032" sldId="2504"/>
            <ac:spMk id="12" creationId="{A4B2CF82-3A65-433D-BD22-7D52AEC002BE}"/>
          </ac:spMkLst>
        </pc:spChg>
      </pc:sldChg>
      <pc:sldChg chg="addSp delSp modSp mod">
        <pc:chgData name="Müller, Kurt (SI BP S TSS TR)" userId="e7e82c7e-80c6-42a5-ab71-24588885b7fe" providerId="ADAL" clId="{167FC261-9733-43D8-A9C5-B462733A4DDF}" dt="2021-10-06T12:10:22.023" v="2078" actId="478"/>
        <pc:sldMkLst>
          <pc:docMk/>
          <pc:sldMk cId="3944122184" sldId="2505"/>
        </pc:sldMkLst>
        <pc:spChg chg="mod">
          <ac:chgData name="Müller, Kurt (SI BP S TSS TR)" userId="e7e82c7e-80c6-42a5-ab71-24588885b7fe" providerId="ADAL" clId="{167FC261-9733-43D8-A9C5-B462733A4DDF}" dt="2021-10-06T11:26:57.602" v="1695" actId="6549"/>
          <ac:spMkLst>
            <pc:docMk/>
            <pc:sldMk cId="3944122184" sldId="2505"/>
            <ac:spMk id="11" creationId="{78147749-85E7-4110-B55A-DB45D6D85C1A}"/>
          </ac:spMkLst>
        </pc:spChg>
        <pc:spChg chg="del">
          <ac:chgData name="Müller, Kurt (SI BP S TSS TR)" userId="e7e82c7e-80c6-42a5-ab71-24588885b7fe" providerId="ADAL" clId="{167FC261-9733-43D8-A9C5-B462733A4DDF}" dt="2021-10-04T20:19:14.914" v="50" actId="478"/>
          <ac:spMkLst>
            <pc:docMk/>
            <pc:sldMk cId="3944122184" sldId="2505"/>
            <ac:spMk id="12" creationId="{A4B2CF82-3A65-433D-BD22-7D52AEC002BE}"/>
          </ac:spMkLst>
        </pc:spChg>
        <pc:spChg chg="mod">
          <ac:chgData name="Müller, Kurt (SI BP S TSS TR)" userId="e7e82c7e-80c6-42a5-ab71-24588885b7fe" providerId="ADAL" clId="{167FC261-9733-43D8-A9C5-B462733A4DDF}" dt="2021-10-05T14:15:26.953" v="305" actId="1076"/>
          <ac:spMkLst>
            <pc:docMk/>
            <pc:sldMk cId="3944122184" sldId="2505"/>
            <ac:spMk id="14" creationId="{B3E8F97C-ABB2-4A19-95F8-3B695F064573}"/>
          </ac:spMkLst>
        </pc:spChg>
        <pc:spChg chg="del mod">
          <ac:chgData name="Müller, Kurt (SI BP S TSS TR)" userId="e7e82c7e-80c6-42a5-ab71-24588885b7fe" providerId="ADAL" clId="{167FC261-9733-43D8-A9C5-B462733A4DDF}" dt="2021-10-06T11:35:56.790" v="1770" actId="478"/>
          <ac:spMkLst>
            <pc:docMk/>
            <pc:sldMk cId="3944122184" sldId="2505"/>
            <ac:spMk id="16" creationId="{28A57370-8F4B-48B5-836F-5074CC21C5E0}"/>
          </ac:spMkLst>
        </pc:spChg>
        <pc:spChg chg="del">
          <ac:chgData name="Müller, Kurt (SI BP S TSS TR)" userId="e7e82c7e-80c6-42a5-ab71-24588885b7fe" providerId="ADAL" clId="{167FC261-9733-43D8-A9C5-B462733A4DDF}" dt="2021-10-06T11:21:43.915" v="1637" actId="478"/>
          <ac:spMkLst>
            <pc:docMk/>
            <pc:sldMk cId="3944122184" sldId="2505"/>
            <ac:spMk id="19" creationId="{76D3B8E7-F217-4033-9244-A53A49FDAFDF}"/>
          </ac:spMkLst>
        </pc:spChg>
        <pc:spChg chg="del">
          <ac:chgData name="Müller, Kurt (SI BP S TSS TR)" userId="e7e82c7e-80c6-42a5-ab71-24588885b7fe" providerId="ADAL" clId="{167FC261-9733-43D8-A9C5-B462733A4DDF}" dt="2021-10-06T11:21:40.760" v="1635" actId="478"/>
          <ac:spMkLst>
            <pc:docMk/>
            <pc:sldMk cId="3944122184" sldId="2505"/>
            <ac:spMk id="20" creationId="{B93C5DE2-42CB-4D6F-9627-161EEB71AADA}"/>
          </ac:spMkLst>
        </pc:spChg>
        <pc:spChg chg="del mod">
          <ac:chgData name="Müller, Kurt (SI BP S TSS TR)" userId="e7e82c7e-80c6-42a5-ab71-24588885b7fe" providerId="ADAL" clId="{167FC261-9733-43D8-A9C5-B462733A4DDF}" dt="2021-10-06T12:07:33.444" v="2055" actId="478"/>
          <ac:spMkLst>
            <pc:docMk/>
            <pc:sldMk cId="3944122184" sldId="2505"/>
            <ac:spMk id="30" creationId="{5BC3D0AE-17A3-4F66-9535-BCF123CCAED9}"/>
          </ac:spMkLst>
        </pc:spChg>
        <pc:spChg chg="mod">
          <ac:chgData name="Müller, Kurt (SI BP S TSS TR)" userId="e7e82c7e-80c6-42a5-ab71-24588885b7fe" providerId="ADAL" clId="{167FC261-9733-43D8-A9C5-B462733A4DDF}" dt="2021-10-06T12:04:18.043" v="1977" actId="1076"/>
          <ac:spMkLst>
            <pc:docMk/>
            <pc:sldMk cId="3944122184" sldId="2505"/>
            <ac:spMk id="31" creationId="{69426052-8C34-4070-A649-B01801B08EFA}"/>
          </ac:spMkLst>
        </pc:spChg>
        <pc:spChg chg="mod">
          <ac:chgData name="Müller, Kurt (SI BP S TSS TR)" userId="e7e82c7e-80c6-42a5-ab71-24588885b7fe" providerId="ADAL" clId="{167FC261-9733-43D8-A9C5-B462733A4DDF}" dt="2021-10-06T12:01:26.908" v="1943" actId="1076"/>
          <ac:spMkLst>
            <pc:docMk/>
            <pc:sldMk cId="3944122184" sldId="2505"/>
            <ac:spMk id="33" creationId="{875127C9-FCBA-48AB-9655-AA88E2B10637}"/>
          </ac:spMkLst>
        </pc:spChg>
        <pc:spChg chg="del">
          <ac:chgData name="Müller, Kurt (SI BP S TSS TR)" userId="e7e82c7e-80c6-42a5-ab71-24588885b7fe" providerId="ADAL" clId="{167FC261-9733-43D8-A9C5-B462733A4DDF}" dt="2021-10-06T11:25:18.971" v="1677" actId="478"/>
          <ac:spMkLst>
            <pc:docMk/>
            <pc:sldMk cId="3944122184" sldId="2505"/>
            <ac:spMk id="34" creationId="{C980011D-61EE-4F9D-966C-9E79F63971A0}"/>
          </ac:spMkLst>
        </pc:spChg>
        <pc:spChg chg="del mod">
          <ac:chgData name="Müller, Kurt (SI BP S TSS TR)" userId="e7e82c7e-80c6-42a5-ab71-24588885b7fe" providerId="ADAL" clId="{167FC261-9733-43D8-A9C5-B462733A4DDF}" dt="2021-10-06T11:25:08.139" v="1671" actId="478"/>
          <ac:spMkLst>
            <pc:docMk/>
            <pc:sldMk cId="3944122184" sldId="2505"/>
            <ac:spMk id="35" creationId="{AAFE5C34-B8AA-4E66-B456-300D645725DF}"/>
          </ac:spMkLst>
        </pc:spChg>
        <pc:spChg chg="del">
          <ac:chgData name="Müller, Kurt (SI BP S TSS TR)" userId="e7e82c7e-80c6-42a5-ab71-24588885b7fe" providerId="ADAL" clId="{167FC261-9733-43D8-A9C5-B462733A4DDF}" dt="2021-10-06T11:25:19.879" v="1678" actId="478"/>
          <ac:spMkLst>
            <pc:docMk/>
            <pc:sldMk cId="3944122184" sldId="2505"/>
            <ac:spMk id="36" creationId="{C972618A-32D5-4F0E-AF90-E3321311DC63}"/>
          </ac:spMkLst>
        </pc:spChg>
        <pc:spChg chg="del mod">
          <ac:chgData name="Müller, Kurt (SI BP S TSS TR)" userId="e7e82c7e-80c6-42a5-ab71-24588885b7fe" providerId="ADAL" clId="{167FC261-9733-43D8-A9C5-B462733A4DDF}" dt="2021-10-06T11:25:09.793" v="1672" actId="478"/>
          <ac:spMkLst>
            <pc:docMk/>
            <pc:sldMk cId="3944122184" sldId="2505"/>
            <ac:spMk id="37" creationId="{92FDA62D-6306-4AEC-8D33-7ACBB9D53739}"/>
          </ac:spMkLst>
        </pc:spChg>
        <pc:spChg chg="del mod">
          <ac:chgData name="Müller, Kurt (SI BP S TSS TR)" userId="e7e82c7e-80c6-42a5-ab71-24588885b7fe" providerId="ADAL" clId="{167FC261-9733-43D8-A9C5-B462733A4DDF}" dt="2021-10-06T11:25:12.084" v="1674" actId="478"/>
          <ac:spMkLst>
            <pc:docMk/>
            <pc:sldMk cId="3944122184" sldId="2505"/>
            <ac:spMk id="38" creationId="{D1CFCD05-E3E6-47ED-BA4C-FCE8ADD2CCF7}"/>
          </ac:spMkLst>
        </pc:spChg>
        <pc:spChg chg="del">
          <ac:chgData name="Müller, Kurt (SI BP S TSS TR)" userId="e7e82c7e-80c6-42a5-ab71-24588885b7fe" providerId="ADAL" clId="{167FC261-9733-43D8-A9C5-B462733A4DDF}" dt="2021-10-06T11:25:17.497" v="1676" actId="478"/>
          <ac:spMkLst>
            <pc:docMk/>
            <pc:sldMk cId="3944122184" sldId="2505"/>
            <ac:spMk id="39" creationId="{53E677A6-0172-4202-9F2E-38CAE5B50818}"/>
          </ac:spMkLst>
        </pc:spChg>
        <pc:spChg chg="mod">
          <ac:chgData name="Müller, Kurt (SI BP S TSS TR)" userId="e7e82c7e-80c6-42a5-ab71-24588885b7fe" providerId="ADAL" clId="{167FC261-9733-43D8-A9C5-B462733A4DDF}" dt="2021-10-06T11:58:55.128" v="1913" actId="20577"/>
          <ac:spMkLst>
            <pc:docMk/>
            <pc:sldMk cId="3944122184" sldId="2505"/>
            <ac:spMk id="42" creationId="{93A5E011-CEF2-42B8-8323-CBD3EBDDFAEA}"/>
          </ac:spMkLst>
        </pc:spChg>
        <pc:spChg chg="mod">
          <ac:chgData name="Müller, Kurt (SI BP S TSS TR)" userId="e7e82c7e-80c6-42a5-ab71-24588885b7fe" providerId="ADAL" clId="{167FC261-9733-43D8-A9C5-B462733A4DDF}" dt="2021-10-06T12:05:34.033" v="2030" actId="1037"/>
          <ac:spMkLst>
            <pc:docMk/>
            <pc:sldMk cId="3944122184" sldId="2505"/>
            <ac:spMk id="43" creationId="{8EF7824E-B815-43BB-A1EE-0062E6A23366}"/>
          </ac:spMkLst>
        </pc:spChg>
        <pc:spChg chg="mod">
          <ac:chgData name="Müller, Kurt (SI BP S TSS TR)" userId="e7e82c7e-80c6-42a5-ab71-24588885b7fe" providerId="ADAL" clId="{167FC261-9733-43D8-A9C5-B462733A4DDF}" dt="2021-10-06T12:04:31.219" v="1981" actId="1076"/>
          <ac:spMkLst>
            <pc:docMk/>
            <pc:sldMk cId="3944122184" sldId="2505"/>
            <ac:spMk id="44" creationId="{C25AFED6-F466-4C13-97CD-969E17364F0C}"/>
          </ac:spMkLst>
        </pc:spChg>
        <pc:spChg chg="mod">
          <ac:chgData name="Müller, Kurt (SI BP S TSS TR)" userId="e7e82c7e-80c6-42a5-ab71-24588885b7fe" providerId="ADAL" clId="{167FC261-9733-43D8-A9C5-B462733A4DDF}" dt="2021-10-06T11:43:02.803" v="1777" actId="1076"/>
          <ac:spMkLst>
            <pc:docMk/>
            <pc:sldMk cId="3944122184" sldId="2505"/>
            <ac:spMk id="45" creationId="{46E50453-C6CA-4B2E-A792-08C6395F9B3F}"/>
          </ac:spMkLst>
        </pc:spChg>
        <pc:spChg chg="add mod">
          <ac:chgData name="Müller, Kurt (SI BP S TSS TR)" userId="e7e82c7e-80c6-42a5-ab71-24588885b7fe" providerId="ADAL" clId="{167FC261-9733-43D8-A9C5-B462733A4DDF}" dt="2021-10-06T12:07:11.291" v="2049" actId="14100"/>
          <ac:spMkLst>
            <pc:docMk/>
            <pc:sldMk cId="3944122184" sldId="2505"/>
            <ac:spMk id="51" creationId="{492B468C-641C-4CC5-91B8-07718B51673F}"/>
          </ac:spMkLst>
        </pc:spChg>
        <pc:spChg chg="add mod">
          <ac:chgData name="Müller, Kurt (SI BP S TSS TR)" userId="e7e82c7e-80c6-42a5-ab71-24588885b7fe" providerId="ADAL" clId="{167FC261-9733-43D8-A9C5-B462733A4DDF}" dt="2021-10-06T12:07:25.429" v="2053" actId="14100"/>
          <ac:spMkLst>
            <pc:docMk/>
            <pc:sldMk cId="3944122184" sldId="2505"/>
            <ac:spMk id="52" creationId="{016142C8-3F59-4DF1-997A-B5A981B0AEF6}"/>
          </ac:spMkLst>
        </pc:spChg>
        <pc:spChg chg="add del mod">
          <ac:chgData name="Müller, Kurt (SI BP S TSS TR)" userId="e7e82c7e-80c6-42a5-ab71-24588885b7fe" providerId="ADAL" clId="{167FC261-9733-43D8-A9C5-B462733A4DDF}" dt="2021-10-06T12:10:22.023" v="2078" actId="478"/>
          <ac:spMkLst>
            <pc:docMk/>
            <pc:sldMk cId="3944122184" sldId="2505"/>
            <ac:spMk id="53" creationId="{A90501BF-42FB-4801-9D83-C29F63238320}"/>
          </ac:spMkLst>
        </pc:spChg>
        <pc:picChg chg="add del mod">
          <ac:chgData name="Müller, Kurt (SI BP S TSS TR)" userId="e7e82c7e-80c6-42a5-ab71-24588885b7fe" providerId="ADAL" clId="{167FC261-9733-43D8-A9C5-B462733A4DDF}" dt="2021-10-06T11:25:07.198" v="1670" actId="478"/>
          <ac:picMkLst>
            <pc:docMk/>
            <pc:sldMk cId="3944122184" sldId="2505"/>
            <ac:picMk id="3" creationId="{0410442C-ED5C-478C-B27F-1556328FAF4C}"/>
          </ac:picMkLst>
        </pc:picChg>
        <pc:picChg chg="del">
          <ac:chgData name="Müller, Kurt (SI BP S TSS TR)" userId="e7e82c7e-80c6-42a5-ab71-24588885b7fe" providerId="ADAL" clId="{167FC261-9733-43D8-A9C5-B462733A4DDF}" dt="2021-10-06T11:21:10.173" v="1632" actId="478"/>
          <ac:picMkLst>
            <pc:docMk/>
            <pc:sldMk cId="3944122184" sldId="2505"/>
            <ac:picMk id="4" creationId="{B5A941D5-C3C0-4A43-BA80-39BA5048B64F}"/>
          </ac:picMkLst>
        </pc:picChg>
        <pc:picChg chg="mod">
          <ac:chgData name="Müller, Kurt (SI BP S TSS TR)" userId="e7e82c7e-80c6-42a5-ab71-24588885b7fe" providerId="ADAL" clId="{167FC261-9733-43D8-A9C5-B462733A4DDF}" dt="2021-10-06T12:04:05.538" v="1973" actId="1076"/>
          <ac:picMkLst>
            <pc:docMk/>
            <pc:sldMk cId="3944122184" sldId="2505"/>
            <ac:picMk id="7" creationId="{0E165EF4-E01E-40E7-A654-3855D292C061}"/>
          </ac:picMkLst>
        </pc:picChg>
        <pc:picChg chg="mod modCrop">
          <ac:chgData name="Müller, Kurt (SI BP S TSS TR)" userId="e7e82c7e-80c6-42a5-ab71-24588885b7fe" providerId="ADAL" clId="{167FC261-9733-43D8-A9C5-B462733A4DDF}" dt="2021-10-06T11:59:07.059" v="1914" actId="14100"/>
          <ac:picMkLst>
            <pc:docMk/>
            <pc:sldMk cId="3944122184" sldId="2505"/>
            <ac:picMk id="28" creationId="{7A3EC993-74F9-4AC5-95CE-B9FB90A83CA3}"/>
          </ac:picMkLst>
        </pc:picChg>
        <pc:picChg chg="add del mod modCrop">
          <ac:chgData name="Müller, Kurt (SI BP S TSS TR)" userId="e7e82c7e-80c6-42a5-ab71-24588885b7fe" providerId="ADAL" clId="{167FC261-9733-43D8-A9C5-B462733A4DDF}" dt="2021-10-06T11:25:12.970" v="1675" actId="478"/>
          <ac:picMkLst>
            <pc:docMk/>
            <pc:sldMk cId="3944122184" sldId="2505"/>
            <ac:picMk id="29" creationId="{54D74FCD-C9A3-4BCC-A44F-9C71E7887D54}"/>
          </ac:picMkLst>
        </pc:picChg>
        <pc:picChg chg="add del mod">
          <ac:chgData name="Müller, Kurt (SI BP S TSS TR)" userId="e7e82c7e-80c6-42a5-ab71-24588885b7fe" providerId="ADAL" clId="{167FC261-9733-43D8-A9C5-B462733A4DDF}" dt="2021-10-06T11:21:41.894" v="1636" actId="478"/>
          <ac:picMkLst>
            <pc:docMk/>
            <pc:sldMk cId="3944122184" sldId="2505"/>
            <ac:picMk id="32" creationId="{13D4A6CB-8F94-4471-8CBF-49100FDB4E6D}"/>
          </ac:picMkLst>
        </pc:picChg>
        <pc:picChg chg="del mod">
          <ac:chgData name="Müller, Kurt (SI BP S TSS TR)" userId="e7e82c7e-80c6-42a5-ab71-24588885b7fe" providerId="ADAL" clId="{167FC261-9733-43D8-A9C5-B462733A4DDF}" dt="2021-10-06T12:00:22.849" v="1937" actId="478"/>
          <ac:picMkLst>
            <pc:docMk/>
            <pc:sldMk cId="3944122184" sldId="2505"/>
            <ac:picMk id="40" creationId="{82FE3BEE-B5E5-40BA-9192-6298C257BB4A}"/>
          </ac:picMkLst>
        </pc:picChg>
        <pc:picChg chg="mod ord">
          <ac:chgData name="Müller, Kurt (SI BP S TSS TR)" userId="e7e82c7e-80c6-42a5-ab71-24588885b7fe" providerId="ADAL" clId="{167FC261-9733-43D8-A9C5-B462733A4DDF}" dt="2021-10-06T12:00:15.725" v="1932" actId="1076"/>
          <ac:picMkLst>
            <pc:docMk/>
            <pc:sldMk cId="3944122184" sldId="2505"/>
            <ac:picMk id="41" creationId="{542B8FB7-8112-4384-8B81-0E7528ACF1F1}"/>
          </ac:picMkLst>
        </pc:picChg>
        <pc:picChg chg="add del mod ord">
          <ac:chgData name="Müller, Kurt (SI BP S TSS TR)" userId="e7e82c7e-80c6-42a5-ab71-24588885b7fe" providerId="ADAL" clId="{167FC261-9733-43D8-A9C5-B462733A4DDF}" dt="2021-10-06T11:22:32.476" v="1650" actId="478"/>
          <ac:picMkLst>
            <pc:docMk/>
            <pc:sldMk cId="3944122184" sldId="2505"/>
            <ac:picMk id="46" creationId="{50DCD5D9-3882-4E68-89B3-F4AB2DA52692}"/>
          </ac:picMkLst>
        </pc:picChg>
        <pc:picChg chg="add del mod">
          <ac:chgData name="Müller, Kurt (SI BP S TSS TR)" userId="e7e82c7e-80c6-42a5-ab71-24588885b7fe" providerId="ADAL" clId="{167FC261-9733-43D8-A9C5-B462733A4DDF}" dt="2021-10-06T11:25:10.442" v="1673" actId="478"/>
          <ac:picMkLst>
            <pc:docMk/>
            <pc:sldMk cId="3944122184" sldId="2505"/>
            <ac:picMk id="47" creationId="{A9F83B96-ECB7-4CC4-9B35-1465279139EF}"/>
          </ac:picMkLst>
        </pc:picChg>
        <pc:picChg chg="add mod">
          <ac:chgData name="Müller, Kurt (SI BP S TSS TR)" userId="e7e82c7e-80c6-42a5-ab71-24588885b7fe" providerId="ADAL" clId="{167FC261-9733-43D8-A9C5-B462733A4DDF}" dt="2021-10-06T11:58:31.995" v="1905" actId="1076"/>
          <ac:picMkLst>
            <pc:docMk/>
            <pc:sldMk cId="3944122184" sldId="2505"/>
            <ac:picMk id="48" creationId="{4BC9F920-1293-4ED0-BE1C-D662C9BF6BB9}"/>
          </ac:picMkLst>
        </pc:picChg>
        <pc:picChg chg="add mod modCrop">
          <ac:chgData name="Müller, Kurt (SI BP S TSS TR)" userId="e7e82c7e-80c6-42a5-ab71-24588885b7fe" providerId="ADAL" clId="{167FC261-9733-43D8-A9C5-B462733A4DDF}" dt="2021-10-06T12:05:34.033" v="2030" actId="1037"/>
          <ac:picMkLst>
            <pc:docMk/>
            <pc:sldMk cId="3944122184" sldId="2505"/>
            <ac:picMk id="49" creationId="{034EF5D7-4B8D-4414-85D0-1C84328F389D}"/>
          </ac:picMkLst>
        </pc:picChg>
        <pc:picChg chg="add mod">
          <ac:chgData name="Müller, Kurt (SI BP S TSS TR)" userId="e7e82c7e-80c6-42a5-ab71-24588885b7fe" providerId="ADAL" clId="{167FC261-9733-43D8-A9C5-B462733A4DDF}" dt="2021-10-06T12:05:34.033" v="2030" actId="1037"/>
          <ac:picMkLst>
            <pc:docMk/>
            <pc:sldMk cId="3944122184" sldId="2505"/>
            <ac:picMk id="50" creationId="{81E75DEE-BBF4-4223-B527-A7F5CD91A782}"/>
          </ac:picMkLst>
        </pc:picChg>
      </pc:sldChg>
      <pc:sldChg chg="addSp delSp modSp mod">
        <pc:chgData name="Müller, Kurt (SI BP S TSS TR)" userId="e7e82c7e-80c6-42a5-ab71-24588885b7fe" providerId="ADAL" clId="{167FC261-9733-43D8-A9C5-B462733A4DDF}" dt="2021-10-06T09:43:37.136" v="1499" actId="1076"/>
        <pc:sldMkLst>
          <pc:docMk/>
          <pc:sldMk cId="2176441571" sldId="2507"/>
        </pc:sldMkLst>
        <pc:spChg chg="del">
          <ac:chgData name="Müller, Kurt (SI BP S TSS TR)" userId="e7e82c7e-80c6-42a5-ab71-24588885b7fe" providerId="ADAL" clId="{167FC261-9733-43D8-A9C5-B462733A4DDF}" dt="2021-10-04T15:10:16.752" v="5" actId="478"/>
          <ac:spMkLst>
            <pc:docMk/>
            <pc:sldMk cId="2176441571" sldId="2507"/>
            <ac:spMk id="12" creationId="{A4B2CF82-3A65-433D-BD22-7D52AEC002BE}"/>
          </ac:spMkLst>
        </pc:spChg>
        <pc:spChg chg="del mod">
          <ac:chgData name="Müller, Kurt (SI BP S TSS TR)" userId="e7e82c7e-80c6-42a5-ab71-24588885b7fe" providerId="ADAL" clId="{167FC261-9733-43D8-A9C5-B462733A4DDF}" dt="2021-10-06T09:37:15.503" v="1491" actId="478"/>
          <ac:spMkLst>
            <pc:docMk/>
            <pc:sldMk cId="2176441571" sldId="2507"/>
            <ac:spMk id="15" creationId="{0957C7C5-FA51-4D7A-A629-D945BA21F754}"/>
          </ac:spMkLst>
        </pc:spChg>
        <pc:spChg chg="del mod">
          <ac:chgData name="Müller, Kurt (SI BP S TSS TR)" userId="e7e82c7e-80c6-42a5-ab71-24588885b7fe" providerId="ADAL" clId="{167FC261-9733-43D8-A9C5-B462733A4DDF}" dt="2021-10-06T09:37:17.020" v="1492" actId="478"/>
          <ac:spMkLst>
            <pc:docMk/>
            <pc:sldMk cId="2176441571" sldId="2507"/>
            <ac:spMk id="16" creationId="{CDE61304-738E-438A-82BB-0717FA12DFA5}"/>
          </ac:spMkLst>
        </pc:spChg>
        <pc:spChg chg="mod">
          <ac:chgData name="Müller, Kurt (SI BP S TSS TR)" userId="e7e82c7e-80c6-42a5-ab71-24588885b7fe" providerId="ADAL" clId="{167FC261-9733-43D8-A9C5-B462733A4DDF}" dt="2021-10-06T09:28:50.913" v="1489" actId="113"/>
          <ac:spMkLst>
            <pc:docMk/>
            <pc:sldMk cId="2176441571" sldId="2507"/>
            <ac:spMk id="28" creationId="{0E80F07F-4042-402D-AA78-ED4E6DDDE9C0}"/>
          </ac:spMkLst>
        </pc:spChg>
        <pc:picChg chg="mod">
          <ac:chgData name="Müller, Kurt (SI BP S TSS TR)" userId="e7e82c7e-80c6-42a5-ab71-24588885b7fe" providerId="ADAL" clId="{167FC261-9733-43D8-A9C5-B462733A4DDF}" dt="2021-10-05T07:57:17.945" v="256" actId="1076"/>
          <ac:picMkLst>
            <pc:docMk/>
            <pc:sldMk cId="2176441571" sldId="2507"/>
            <ac:picMk id="3" creationId="{89CFCF87-2A8A-4E48-81A6-739677FC017E}"/>
          </ac:picMkLst>
        </pc:picChg>
        <pc:picChg chg="del mod">
          <ac:chgData name="Müller, Kurt (SI BP S TSS TR)" userId="e7e82c7e-80c6-42a5-ab71-24588885b7fe" providerId="ADAL" clId="{167FC261-9733-43D8-A9C5-B462733A4DDF}" dt="2021-10-06T09:36:52.338" v="1490" actId="478"/>
          <ac:picMkLst>
            <pc:docMk/>
            <pc:sldMk cId="2176441571" sldId="2507"/>
            <ac:picMk id="13" creationId="{BBA55C01-E707-45BC-B2EC-DD551F650747}"/>
          </ac:picMkLst>
        </pc:picChg>
        <pc:picChg chg="del mod">
          <ac:chgData name="Müller, Kurt (SI BP S TSS TR)" userId="e7e82c7e-80c6-42a5-ab71-24588885b7fe" providerId="ADAL" clId="{167FC261-9733-43D8-A9C5-B462733A4DDF}" dt="2021-10-06T09:36:52.338" v="1490" actId="478"/>
          <ac:picMkLst>
            <pc:docMk/>
            <pc:sldMk cId="2176441571" sldId="2507"/>
            <ac:picMk id="14" creationId="{079F1D98-4E93-4B61-BC91-349FCF329F7B}"/>
          </ac:picMkLst>
        </pc:picChg>
        <pc:picChg chg="add mod">
          <ac:chgData name="Müller, Kurt (SI BP S TSS TR)" userId="e7e82c7e-80c6-42a5-ab71-24588885b7fe" providerId="ADAL" clId="{167FC261-9733-43D8-A9C5-B462733A4DDF}" dt="2021-10-06T09:43:35.832" v="1498" actId="14100"/>
          <ac:picMkLst>
            <pc:docMk/>
            <pc:sldMk cId="2176441571" sldId="2507"/>
            <ac:picMk id="2050" creationId="{22F4D81C-0204-440B-AE3C-D15B06B8D997}"/>
          </ac:picMkLst>
        </pc:picChg>
        <pc:picChg chg="add mod">
          <ac:chgData name="Müller, Kurt (SI BP S TSS TR)" userId="e7e82c7e-80c6-42a5-ab71-24588885b7fe" providerId="ADAL" clId="{167FC261-9733-43D8-A9C5-B462733A4DDF}" dt="2021-10-06T09:43:37.136" v="1499" actId="1076"/>
          <ac:picMkLst>
            <pc:docMk/>
            <pc:sldMk cId="2176441571" sldId="2507"/>
            <ac:picMk id="2052" creationId="{A8A31189-A362-49D6-9F70-9444227F85BC}"/>
          </ac:picMkLst>
        </pc:picChg>
      </pc:sldChg>
      <pc:sldChg chg="add ord">
        <pc:chgData name="Müller, Kurt (SI BP S TSS TR)" userId="e7e82c7e-80c6-42a5-ab71-24588885b7fe" providerId="ADAL" clId="{167FC261-9733-43D8-A9C5-B462733A4DDF}" dt="2021-10-06T11:43:49.053" v="1785"/>
        <pc:sldMkLst>
          <pc:docMk/>
          <pc:sldMk cId="2142965635" sldId="2508"/>
        </pc:sldMkLst>
      </pc:sldChg>
      <pc:sldChg chg="addSp delSp modSp add mod ord">
        <pc:chgData name="Müller, Kurt (SI BP S TSS TR)" userId="e7e82c7e-80c6-42a5-ab71-24588885b7fe" providerId="ADAL" clId="{167FC261-9733-43D8-A9C5-B462733A4DDF}" dt="2021-10-06T12:23:41.091" v="2253" actId="14100"/>
        <pc:sldMkLst>
          <pc:docMk/>
          <pc:sldMk cId="3619124892" sldId="2509"/>
        </pc:sldMkLst>
        <pc:spChg chg="del mod">
          <ac:chgData name="Müller, Kurt (SI BP S TSS TR)" userId="e7e82c7e-80c6-42a5-ab71-24588885b7fe" providerId="ADAL" clId="{167FC261-9733-43D8-A9C5-B462733A4DDF}" dt="2021-10-06T11:46:54.844" v="1824" actId="478"/>
          <ac:spMkLst>
            <pc:docMk/>
            <pc:sldMk cId="3619124892" sldId="2509"/>
            <ac:spMk id="3" creationId="{B8156BAB-775E-4CC3-83F3-EEA66094E656}"/>
          </ac:spMkLst>
        </pc:spChg>
        <pc:spChg chg="add mod">
          <ac:chgData name="Müller, Kurt (SI BP S TSS TR)" userId="e7e82c7e-80c6-42a5-ab71-24588885b7fe" providerId="ADAL" clId="{167FC261-9733-43D8-A9C5-B462733A4DDF}" dt="2021-10-06T12:14:53.715" v="2137" actId="14100"/>
          <ac:spMkLst>
            <pc:docMk/>
            <pc:sldMk cId="3619124892" sldId="2509"/>
            <ac:spMk id="6" creationId="{CE475B5A-824F-407D-B010-5E5B45D89E6B}"/>
          </ac:spMkLst>
        </pc:spChg>
        <pc:spChg chg="del">
          <ac:chgData name="Müller, Kurt (SI BP S TSS TR)" userId="e7e82c7e-80c6-42a5-ab71-24588885b7fe" providerId="ADAL" clId="{167FC261-9733-43D8-A9C5-B462733A4DDF}" dt="2021-10-06T11:45:19.237" v="1795" actId="478"/>
          <ac:spMkLst>
            <pc:docMk/>
            <pc:sldMk cId="3619124892" sldId="2509"/>
            <ac:spMk id="17" creationId="{02CCF567-4B31-4487-B173-DB18C09CAC1F}"/>
          </ac:spMkLst>
        </pc:spChg>
        <pc:spChg chg="del">
          <ac:chgData name="Müller, Kurt (SI BP S TSS TR)" userId="e7e82c7e-80c6-42a5-ab71-24588885b7fe" providerId="ADAL" clId="{167FC261-9733-43D8-A9C5-B462733A4DDF}" dt="2021-10-06T11:45:19.237" v="1795" actId="478"/>
          <ac:spMkLst>
            <pc:docMk/>
            <pc:sldMk cId="3619124892" sldId="2509"/>
            <ac:spMk id="20" creationId="{00097844-8E69-4FF3-BF54-946C91C4A321}"/>
          </ac:spMkLst>
        </pc:spChg>
        <pc:spChg chg="del mod">
          <ac:chgData name="Müller, Kurt (SI BP S TSS TR)" userId="e7e82c7e-80c6-42a5-ab71-24588885b7fe" providerId="ADAL" clId="{167FC261-9733-43D8-A9C5-B462733A4DDF}" dt="2021-10-06T12:12:58.080" v="2116" actId="478"/>
          <ac:spMkLst>
            <pc:docMk/>
            <pc:sldMk cId="3619124892" sldId="2509"/>
            <ac:spMk id="23" creationId="{D114B01A-C97D-48CB-AA92-8DA86768CB78}"/>
          </ac:spMkLst>
        </pc:spChg>
        <pc:spChg chg="del mod">
          <ac:chgData name="Müller, Kurt (SI BP S TSS TR)" userId="e7e82c7e-80c6-42a5-ab71-24588885b7fe" providerId="ADAL" clId="{167FC261-9733-43D8-A9C5-B462733A4DDF}" dt="2021-10-06T12:12:59.544" v="2117" actId="478"/>
          <ac:spMkLst>
            <pc:docMk/>
            <pc:sldMk cId="3619124892" sldId="2509"/>
            <ac:spMk id="25" creationId="{4561F6C1-00E5-463D-A0EE-BD580CF52D81}"/>
          </ac:spMkLst>
        </pc:spChg>
        <pc:spChg chg="del">
          <ac:chgData name="Müller, Kurt (SI BP S TSS TR)" userId="e7e82c7e-80c6-42a5-ab71-24588885b7fe" providerId="ADAL" clId="{167FC261-9733-43D8-A9C5-B462733A4DDF}" dt="2021-10-06T11:45:13.907" v="1793" actId="478"/>
          <ac:spMkLst>
            <pc:docMk/>
            <pc:sldMk cId="3619124892" sldId="2509"/>
            <ac:spMk id="27" creationId="{D2AF9952-E751-4DA5-8A39-24CBDBCC8437}"/>
          </ac:spMkLst>
        </pc:spChg>
        <pc:spChg chg="del">
          <ac:chgData name="Müller, Kurt (SI BP S TSS TR)" userId="e7e82c7e-80c6-42a5-ab71-24588885b7fe" providerId="ADAL" clId="{167FC261-9733-43D8-A9C5-B462733A4DDF}" dt="2021-10-06T11:45:13.907" v="1793" actId="478"/>
          <ac:spMkLst>
            <pc:docMk/>
            <pc:sldMk cId="3619124892" sldId="2509"/>
            <ac:spMk id="28" creationId="{5AA98577-E41E-4541-B0F9-822E9CFEF805}"/>
          </ac:spMkLst>
        </pc:spChg>
        <pc:spChg chg="del">
          <ac:chgData name="Müller, Kurt (SI BP S TSS TR)" userId="e7e82c7e-80c6-42a5-ab71-24588885b7fe" providerId="ADAL" clId="{167FC261-9733-43D8-A9C5-B462733A4DDF}" dt="2021-10-06T11:45:13.907" v="1793" actId="478"/>
          <ac:spMkLst>
            <pc:docMk/>
            <pc:sldMk cId="3619124892" sldId="2509"/>
            <ac:spMk id="29" creationId="{DF7A5AC7-1E44-4AA3-A4E1-1AE811E6B600}"/>
          </ac:spMkLst>
        </pc:spChg>
        <pc:spChg chg="del">
          <ac:chgData name="Müller, Kurt (SI BP S TSS TR)" userId="e7e82c7e-80c6-42a5-ab71-24588885b7fe" providerId="ADAL" clId="{167FC261-9733-43D8-A9C5-B462733A4DDF}" dt="2021-10-06T11:45:13.907" v="1793" actId="478"/>
          <ac:spMkLst>
            <pc:docMk/>
            <pc:sldMk cId="3619124892" sldId="2509"/>
            <ac:spMk id="30" creationId="{9F43DCFF-17F3-40CD-929B-65156F7D9DCC}"/>
          </ac:spMkLst>
        </pc:spChg>
        <pc:spChg chg="del">
          <ac:chgData name="Müller, Kurt (SI BP S TSS TR)" userId="e7e82c7e-80c6-42a5-ab71-24588885b7fe" providerId="ADAL" clId="{167FC261-9733-43D8-A9C5-B462733A4DDF}" dt="2021-10-06T11:45:13.907" v="1793" actId="478"/>
          <ac:spMkLst>
            <pc:docMk/>
            <pc:sldMk cId="3619124892" sldId="2509"/>
            <ac:spMk id="31" creationId="{4B081E09-3F52-428D-B946-4FEB5CF18FEE}"/>
          </ac:spMkLst>
        </pc:spChg>
        <pc:spChg chg="del">
          <ac:chgData name="Müller, Kurt (SI BP S TSS TR)" userId="e7e82c7e-80c6-42a5-ab71-24588885b7fe" providerId="ADAL" clId="{167FC261-9733-43D8-A9C5-B462733A4DDF}" dt="2021-10-06T11:45:13.907" v="1793" actId="478"/>
          <ac:spMkLst>
            <pc:docMk/>
            <pc:sldMk cId="3619124892" sldId="2509"/>
            <ac:spMk id="32" creationId="{A214BC0F-A34D-4BC3-8BB7-EBD3C7FD404A}"/>
          </ac:spMkLst>
        </pc:spChg>
        <pc:spChg chg="del">
          <ac:chgData name="Müller, Kurt (SI BP S TSS TR)" userId="e7e82c7e-80c6-42a5-ab71-24588885b7fe" providerId="ADAL" clId="{167FC261-9733-43D8-A9C5-B462733A4DDF}" dt="2021-10-06T11:45:13.907" v="1793" actId="478"/>
          <ac:spMkLst>
            <pc:docMk/>
            <pc:sldMk cId="3619124892" sldId="2509"/>
            <ac:spMk id="33" creationId="{9CDB2FB1-5770-46D2-B536-3EF707061297}"/>
          </ac:spMkLst>
        </pc:spChg>
        <pc:spChg chg="del">
          <ac:chgData name="Müller, Kurt (SI BP S TSS TR)" userId="e7e82c7e-80c6-42a5-ab71-24588885b7fe" providerId="ADAL" clId="{167FC261-9733-43D8-A9C5-B462733A4DDF}" dt="2021-10-06T11:45:13.907" v="1793" actId="478"/>
          <ac:spMkLst>
            <pc:docMk/>
            <pc:sldMk cId="3619124892" sldId="2509"/>
            <ac:spMk id="35" creationId="{85CBFBBC-1EBF-47E8-A2A6-1FCE1358A1CF}"/>
          </ac:spMkLst>
        </pc:spChg>
        <pc:spChg chg="del">
          <ac:chgData name="Müller, Kurt (SI BP S TSS TR)" userId="e7e82c7e-80c6-42a5-ab71-24588885b7fe" providerId="ADAL" clId="{167FC261-9733-43D8-A9C5-B462733A4DDF}" dt="2021-10-06T11:45:13.907" v="1793" actId="478"/>
          <ac:spMkLst>
            <pc:docMk/>
            <pc:sldMk cId="3619124892" sldId="2509"/>
            <ac:spMk id="40" creationId="{AFBC7CEE-DBA1-413E-B34B-8F61D2E5E206}"/>
          </ac:spMkLst>
        </pc:spChg>
        <pc:spChg chg="mod">
          <ac:chgData name="Müller, Kurt (SI BP S TSS TR)" userId="e7e82c7e-80c6-42a5-ab71-24588885b7fe" providerId="ADAL" clId="{167FC261-9733-43D8-A9C5-B462733A4DDF}" dt="2021-10-06T12:15:40.786" v="2148" actId="6549"/>
          <ac:spMkLst>
            <pc:docMk/>
            <pc:sldMk cId="3619124892" sldId="2509"/>
            <ac:spMk id="42" creationId="{9DC30CDE-A632-4DC9-B097-521C16ABF36C}"/>
          </ac:spMkLst>
        </pc:spChg>
        <pc:spChg chg="del">
          <ac:chgData name="Müller, Kurt (SI BP S TSS TR)" userId="e7e82c7e-80c6-42a5-ab71-24588885b7fe" providerId="ADAL" clId="{167FC261-9733-43D8-A9C5-B462733A4DDF}" dt="2021-10-06T11:45:19.237" v="1795" actId="478"/>
          <ac:spMkLst>
            <pc:docMk/>
            <pc:sldMk cId="3619124892" sldId="2509"/>
            <ac:spMk id="44" creationId="{4430DCD6-316A-46D5-85B9-7146A18FF468}"/>
          </ac:spMkLst>
        </pc:spChg>
        <pc:spChg chg="del">
          <ac:chgData name="Müller, Kurt (SI BP S TSS TR)" userId="e7e82c7e-80c6-42a5-ab71-24588885b7fe" providerId="ADAL" clId="{167FC261-9733-43D8-A9C5-B462733A4DDF}" dt="2021-10-06T11:45:16.209" v="1794" actId="478"/>
          <ac:spMkLst>
            <pc:docMk/>
            <pc:sldMk cId="3619124892" sldId="2509"/>
            <ac:spMk id="46" creationId="{3E1E56DB-1EAA-4AB8-8268-F26E8116F71C}"/>
          </ac:spMkLst>
        </pc:spChg>
        <pc:spChg chg="del">
          <ac:chgData name="Müller, Kurt (SI BP S TSS TR)" userId="e7e82c7e-80c6-42a5-ab71-24588885b7fe" providerId="ADAL" clId="{167FC261-9733-43D8-A9C5-B462733A4DDF}" dt="2021-10-06T11:45:13.907" v="1793" actId="478"/>
          <ac:spMkLst>
            <pc:docMk/>
            <pc:sldMk cId="3619124892" sldId="2509"/>
            <ac:spMk id="48" creationId="{0F8BF70E-70A7-464E-9AF0-0DD7607F9183}"/>
          </ac:spMkLst>
        </pc:spChg>
        <pc:spChg chg="del">
          <ac:chgData name="Müller, Kurt (SI BP S TSS TR)" userId="e7e82c7e-80c6-42a5-ab71-24588885b7fe" providerId="ADAL" clId="{167FC261-9733-43D8-A9C5-B462733A4DDF}" dt="2021-10-06T11:45:19.237" v="1795" actId="478"/>
          <ac:spMkLst>
            <pc:docMk/>
            <pc:sldMk cId="3619124892" sldId="2509"/>
            <ac:spMk id="49" creationId="{8F07D972-2010-478D-8F61-6214AF8D6993}"/>
          </ac:spMkLst>
        </pc:spChg>
        <pc:spChg chg="del">
          <ac:chgData name="Müller, Kurt (SI BP S TSS TR)" userId="e7e82c7e-80c6-42a5-ab71-24588885b7fe" providerId="ADAL" clId="{167FC261-9733-43D8-A9C5-B462733A4DDF}" dt="2021-10-06T11:45:19.237" v="1795" actId="478"/>
          <ac:spMkLst>
            <pc:docMk/>
            <pc:sldMk cId="3619124892" sldId="2509"/>
            <ac:spMk id="50" creationId="{5D3094BA-4948-49B0-88C0-06E9BD516395}"/>
          </ac:spMkLst>
        </pc:spChg>
        <pc:spChg chg="del">
          <ac:chgData name="Müller, Kurt (SI BP S TSS TR)" userId="e7e82c7e-80c6-42a5-ab71-24588885b7fe" providerId="ADAL" clId="{167FC261-9733-43D8-A9C5-B462733A4DDF}" dt="2021-10-06T11:45:13.907" v="1793" actId="478"/>
          <ac:spMkLst>
            <pc:docMk/>
            <pc:sldMk cId="3619124892" sldId="2509"/>
            <ac:spMk id="52" creationId="{3544DC73-7953-4D12-A0B3-94D6AFC729BE}"/>
          </ac:spMkLst>
        </pc:spChg>
        <pc:spChg chg="add del mod">
          <ac:chgData name="Müller, Kurt (SI BP S TSS TR)" userId="e7e82c7e-80c6-42a5-ab71-24588885b7fe" providerId="ADAL" clId="{167FC261-9733-43D8-A9C5-B462733A4DDF}" dt="2021-10-06T12:12:20.832" v="2105" actId="478"/>
          <ac:spMkLst>
            <pc:docMk/>
            <pc:sldMk cId="3619124892" sldId="2509"/>
            <ac:spMk id="56" creationId="{A625C039-68C1-4292-B6FE-710A7C179F03}"/>
          </ac:spMkLst>
        </pc:spChg>
        <pc:spChg chg="add mod">
          <ac:chgData name="Müller, Kurt (SI BP S TSS TR)" userId="e7e82c7e-80c6-42a5-ab71-24588885b7fe" providerId="ADAL" clId="{167FC261-9733-43D8-A9C5-B462733A4DDF}" dt="2021-10-06T12:17:36.159" v="2206" actId="1076"/>
          <ac:spMkLst>
            <pc:docMk/>
            <pc:sldMk cId="3619124892" sldId="2509"/>
            <ac:spMk id="59" creationId="{87AB1B76-ECD4-4B0B-BA6E-B68E55034277}"/>
          </ac:spMkLst>
        </pc:spChg>
        <pc:spChg chg="add mod">
          <ac:chgData name="Müller, Kurt (SI BP S TSS TR)" userId="e7e82c7e-80c6-42a5-ab71-24588885b7fe" providerId="ADAL" clId="{167FC261-9733-43D8-A9C5-B462733A4DDF}" dt="2021-10-06T12:17:36.159" v="2206" actId="1076"/>
          <ac:spMkLst>
            <pc:docMk/>
            <pc:sldMk cId="3619124892" sldId="2509"/>
            <ac:spMk id="60" creationId="{A32A6BC7-9034-48C5-A9B2-87EB8D53E4D0}"/>
          </ac:spMkLst>
        </pc:spChg>
        <pc:spChg chg="add mod">
          <ac:chgData name="Müller, Kurt (SI BP S TSS TR)" userId="e7e82c7e-80c6-42a5-ab71-24588885b7fe" providerId="ADAL" clId="{167FC261-9733-43D8-A9C5-B462733A4DDF}" dt="2021-10-06T12:17:36.159" v="2206" actId="1076"/>
          <ac:spMkLst>
            <pc:docMk/>
            <pc:sldMk cId="3619124892" sldId="2509"/>
            <ac:spMk id="61" creationId="{D8B15544-50A0-4B09-9DCD-3D584BF6DDF7}"/>
          </ac:spMkLst>
        </pc:spChg>
        <pc:spChg chg="add mod">
          <ac:chgData name="Müller, Kurt (SI BP S TSS TR)" userId="e7e82c7e-80c6-42a5-ab71-24588885b7fe" providerId="ADAL" clId="{167FC261-9733-43D8-A9C5-B462733A4DDF}" dt="2021-10-06T12:17:36.159" v="2206" actId="1076"/>
          <ac:spMkLst>
            <pc:docMk/>
            <pc:sldMk cId="3619124892" sldId="2509"/>
            <ac:spMk id="62" creationId="{DCC4F5FC-28B6-4AD9-BCDD-22273C7D0AF4}"/>
          </ac:spMkLst>
        </pc:spChg>
        <pc:spChg chg="add mod">
          <ac:chgData name="Müller, Kurt (SI BP S TSS TR)" userId="e7e82c7e-80c6-42a5-ab71-24588885b7fe" providerId="ADAL" clId="{167FC261-9733-43D8-A9C5-B462733A4DDF}" dt="2021-10-06T12:17:36.159" v="2206" actId="1076"/>
          <ac:spMkLst>
            <pc:docMk/>
            <pc:sldMk cId="3619124892" sldId="2509"/>
            <ac:spMk id="63" creationId="{188857FE-D1D1-43E3-8477-830B2D496D74}"/>
          </ac:spMkLst>
        </pc:spChg>
        <pc:spChg chg="add mod">
          <ac:chgData name="Müller, Kurt (SI BP S TSS TR)" userId="e7e82c7e-80c6-42a5-ab71-24588885b7fe" providerId="ADAL" clId="{167FC261-9733-43D8-A9C5-B462733A4DDF}" dt="2021-10-06T12:17:36.159" v="2206" actId="1076"/>
          <ac:spMkLst>
            <pc:docMk/>
            <pc:sldMk cId="3619124892" sldId="2509"/>
            <ac:spMk id="64" creationId="{EF5A2B92-7F16-4273-A3C9-1F4FAD5F3C35}"/>
          </ac:spMkLst>
        </pc:spChg>
        <pc:spChg chg="add del mod">
          <ac:chgData name="Müller, Kurt (SI BP S TSS TR)" userId="e7e82c7e-80c6-42a5-ab71-24588885b7fe" providerId="ADAL" clId="{167FC261-9733-43D8-A9C5-B462733A4DDF}" dt="2021-10-06T12:12:55.053" v="2115" actId="478"/>
          <ac:spMkLst>
            <pc:docMk/>
            <pc:sldMk cId="3619124892" sldId="2509"/>
            <ac:spMk id="66" creationId="{CA198954-900A-4BD6-AB44-3F5C8D5ABFE8}"/>
          </ac:spMkLst>
        </pc:spChg>
        <pc:spChg chg="add mod">
          <ac:chgData name="Müller, Kurt (SI BP S TSS TR)" userId="e7e82c7e-80c6-42a5-ab71-24588885b7fe" providerId="ADAL" clId="{167FC261-9733-43D8-A9C5-B462733A4DDF}" dt="2021-10-06T12:14:45.132" v="2134" actId="1076"/>
          <ac:spMkLst>
            <pc:docMk/>
            <pc:sldMk cId="3619124892" sldId="2509"/>
            <ac:spMk id="68" creationId="{81DEFBD9-996F-4744-9D19-87C302DBDDD6}"/>
          </ac:spMkLst>
        </pc:spChg>
        <pc:spChg chg="add mod">
          <ac:chgData name="Müller, Kurt (SI BP S TSS TR)" userId="e7e82c7e-80c6-42a5-ab71-24588885b7fe" providerId="ADAL" clId="{167FC261-9733-43D8-A9C5-B462733A4DDF}" dt="2021-10-06T12:15:27.523" v="2144" actId="1038"/>
          <ac:spMkLst>
            <pc:docMk/>
            <pc:sldMk cId="3619124892" sldId="2509"/>
            <ac:spMk id="69" creationId="{08D66FE7-E0AA-4881-93C2-CD9D62BA5D27}"/>
          </ac:spMkLst>
        </pc:spChg>
        <pc:spChg chg="add mod">
          <ac:chgData name="Müller, Kurt (SI BP S TSS TR)" userId="e7e82c7e-80c6-42a5-ab71-24588885b7fe" providerId="ADAL" clId="{167FC261-9733-43D8-A9C5-B462733A4DDF}" dt="2021-10-06T12:14:45.132" v="2134" actId="1076"/>
          <ac:spMkLst>
            <pc:docMk/>
            <pc:sldMk cId="3619124892" sldId="2509"/>
            <ac:spMk id="72" creationId="{268B81EE-9301-4E2E-B8B6-69E0641C73D8}"/>
          </ac:spMkLst>
        </pc:spChg>
        <pc:spChg chg="add del mod">
          <ac:chgData name="Müller, Kurt (SI BP S TSS TR)" userId="e7e82c7e-80c6-42a5-ab71-24588885b7fe" providerId="ADAL" clId="{167FC261-9733-43D8-A9C5-B462733A4DDF}" dt="2021-10-06T12:20:53.342" v="2216" actId="478"/>
          <ac:spMkLst>
            <pc:docMk/>
            <pc:sldMk cId="3619124892" sldId="2509"/>
            <ac:spMk id="77" creationId="{21099D35-7D26-4AFF-85FA-D1FAF6E5DA1B}"/>
          </ac:spMkLst>
        </pc:spChg>
        <pc:spChg chg="add mod">
          <ac:chgData name="Müller, Kurt (SI BP S TSS TR)" userId="e7e82c7e-80c6-42a5-ab71-24588885b7fe" providerId="ADAL" clId="{167FC261-9733-43D8-A9C5-B462733A4DDF}" dt="2021-10-06T12:12:49.771" v="2113" actId="1076"/>
          <ac:spMkLst>
            <pc:docMk/>
            <pc:sldMk cId="3619124892" sldId="2509"/>
            <ac:spMk id="78" creationId="{6C1931F8-7576-4A03-BC55-1B47C2F63299}"/>
          </ac:spMkLst>
        </pc:spChg>
        <pc:spChg chg="add mod">
          <ac:chgData name="Müller, Kurt (SI BP S TSS TR)" userId="e7e82c7e-80c6-42a5-ab71-24588885b7fe" providerId="ADAL" clId="{167FC261-9733-43D8-A9C5-B462733A4DDF}" dt="2021-10-06T12:12:26.981" v="2107" actId="571"/>
          <ac:spMkLst>
            <pc:docMk/>
            <pc:sldMk cId="3619124892" sldId="2509"/>
            <ac:spMk id="79" creationId="{B6A23980-07F1-43FF-821E-C1BFC7D1E2E1}"/>
          </ac:spMkLst>
        </pc:spChg>
        <pc:spChg chg="add mod">
          <ac:chgData name="Müller, Kurt (SI BP S TSS TR)" userId="e7e82c7e-80c6-42a5-ab71-24588885b7fe" providerId="ADAL" clId="{167FC261-9733-43D8-A9C5-B462733A4DDF}" dt="2021-10-06T12:18:11.652" v="2210" actId="1076"/>
          <ac:spMkLst>
            <pc:docMk/>
            <pc:sldMk cId="3619124892" sldId="2509"/>
            <ac:spMk id="82" creationId="{CF7F1FEA-5F0A-4828-AB1A-3520C37CE0AE}"/>
          </ac:spMkLst>
        </pc:spChg>
        <pc:spChg chg="add mod">
          <ac:chgData name="Müller, Kurt (SI BP S TSS TR)" userId="e7e82c7e-80c6-42a5-ab71-24588885b7fe" providerId="ADAL" clId="{167FC261-9733-43D8-A9C5-B462733A4DDF}" dt="2021-10-06T12:23:24.282" v="2252" actId="1076"/>
          <ac:spMkLst>
            <pc:docMk/>
            <pc:sldMk cId="3619124892" sldId="2509"/>
            <ac:spMk id="93" creationId="{1A3F485C-DF6D-4612-8BF4-146A211AA7B5}"/>
          </ac:spMkLst>
        </pc:spChg>
        <pc:picChg chg="del">
          <ac:chgData name="Müller, Kurt (SI BP S TSS TR)" userId="e7e82c7e-80c6-42a5-ab71-24588885b7fe" providerId="ADAL" clId="{167FC261-9733-43D8-A9C5-B462733A4DDF}" dt="2021-10-06T11:45:19.237" v="1795" actId="478"/>
          <ac:picMkLst>
            <pc:docMk/>
            <pc:sldMk cId="3619124892" sldId="2509"/>
            <ac:picMk id="7" creationId="{A3C3A532-41A4-41C1-863C-94718EEB5C35}"/>
          </ac:picMkLst>
        </pc:picChg>
        <pc:picChg chg="del">
          <ac:chgData name="Müller, Kurt (SI BP S TSS TR)" userId="e7e82c7e-80c6-42a5-ab71-24588885b7fe" providerId="ADAL" clId="{167FC261-9733-43D8-A9C5-B462733A4DDF}" dt="2021-10-06T11:45:19.237" v="1795" actId="478"/>
          <ac:picMkLst>
            <pc:docMk/>
            <pc:sldMk cId="3619124892" sldId="2509"/>
            <ac:picMk id="8" creationId="{6889586A-02FB-49AB-B057-CB14DAB72987}"/>
          </ac:picMkLst>
        </pc:picChg>
        <pc:picChg chg="del mod modCrop">
          <ac:chgData name="Müller, Kurt (SI BP S TSS TR)" userId="e7e82c7e-80c6-42a5-ab71-24588885b7fe" providerId="ADAL" clId="{167FC261-9733-43D8-A9C5-B462733A4DDF}" dt="2021-10-06T12:09:00.620" v="2056" actId="478"/>
          <ac:picMkLst>
            <pc:docMk/>
            <pc:sldMk cId="3619124892" sldId="2509"/>
            <ac:picMk id="11" creationId="{89287F33-3A37-41D4-8631-1D51F8F790A8}"/>
          </ac:picMkLst>
        </pc:picChg>
        <pc:picChg chg="del mod modCrop">
          <ac:chgData name="Müller, Kurt (SI BP S TSS TR)" userId="e7e82c7e-80c6-42a5-ab71-24588885b7fe" providerId="ADAL" clId="{167FC261-9733-43D8-A9C5-B462733A4DDF}" dt="2021-10-06T12:09:01.553" v="2057" actId="478"/>
          <ac:picMkLst>
            <pc:docMk/>
            <pc:sldMk cId="3619124892" sldId="2509"/>
            <ac:picMk id="26" creationId="{A94DF6E7-A3C6-44CA-AAFB-28C7CD605DE7}"/>
          </ac:picMkLst>
        </pc:picChg>
        <pc:picChg chg="del mod modCrop">
          <ac:chgData name="Müller, Kurt (SI BP S TSS TR)" userId="e7e82c7e-80c6-42a5-ab71-24588885b7fe" providerId="ADAL" clId="{167FC261-9733-43D8-A9C5-B462733A4DDF}" dt="2021-10-06T12:09:02.773" v="2058" actId="478"/>
          <ac:picMkLst>
            <pc:docMk/>
            <pc:sldMk cId="3619124892" sldId="2509"/>
            <ac:picMk id="41" creationId="{5F11817C-D820-4723-A11B-9D533C9C9517}"/>
          </ac:picMkLst>
        </pc:picChg>
        <pc:picChg chg="del">
          <ac:chgData name="Müller, Kurt (SI BP S TSS TR)" userId="e7e82c7e-80c6-42a5-ab71-24588885b7fe" providerId="ADAL" clId="{167FC261-9733-43D8-A9C5-B462733A4DDF}" dt="2021-10-06T11:45:13.907" v="1793" actId="478"/>
          <ac:picMkLst>
            <pc:docMk/>
            <pc:sldMk cId="3619124892" sldId="2509"/>
            <ac:picMk id="47" creationId="{E32ACBDC-5497-4723-AF74-A76FF38FB6CA}"/>
          </ac:picMkLst>
        </pc:picChg>
        <pc:picChg chg="add mod">
          <ac:chgData name="Müller, Kurt (SI BP S TSS TR)" userId="e7e82c7e-80c6-42a5-ab71-24588885b7fe" providerId="ADAL" clId="{167FC261-9733-43D8-A9C5-B462733A4DDF}" dt="2021-10-06T12:11:55.195" v="2101" actId="14100"/>
          <ac:picMkLst>
            <pc:docMk/>
            <pc:sldMk cId="3619124892" sldId="2509"/>
            <ac:picMk id="51" creationId="{B8D1FBCB-E3AA-40B0-AEA3-EBD402928736}"/>
          </ac:picMkLst>
        </pc:picChg>
        <pc:picChg chg="add mod">
          <ac:chgData name="Müller, Kurt (SI BP S TSS TR)" userId="e7e82c7e-80c6-42a5-ab71-24588885b7fe" providerId="ADAL" clId="{167FC261-9733-43D8-A9C5-B462733A4DDF}" dt="2021-10-06T12:12:42.043" v="2111" actId="1076"/>
          <ac:picMkLst>
            <pc:docMk/>
            <pc:sldMk cId="3619124892" sldId="2509"/>
            <ac:picMk id="54" creationId="{02617846-5467-4B63-B536-D3938AC20A88}"/>
          </ac:picMkLst>
        </pc:picChg>
        <pc:picChg chg="del">
          <ac:chgData name="Müller, Kurt (SI BP S TSS TR)" userId="e7e82c7e-80c6-42a5-ab71-24588885b7fe" providerId="ADAL" clId="{167FC261-9733-43D8-A9C5-B462733A4DDF}" dt="2021-10-06T11:45:13.907" v="1793" actId="478"/>
          <ac:picMkLst>
            <pc:docMk/>
            <pc:sldMk cId="3619124892" sldId="2509"/>
            <ac:picMk id="57" creationId="{91A90EE3-D4FF-4223-888B-F121FDDA1828}"/>
          </ac:picMkLst>
        </pc:picChg>
        <pc:picChg chg="add del mod">
          <ac:chgData name="Müller, Kurt (SI BP S TSS TR)" userId="e7e82c7e-80c6-42a5-ab71-24588885b7fe" providerId="ADAL" clId="{167FC261-9733-43D8-A9C5-B462733A4DDF}" dt="2021-10-06T12:11:49.918" v="2099" actId="478"/>
          <ac:picMkLst>
            <pc:docMk/>
            <pc:sldMk cId="3619124892" sldId="2509"/>
            <ac:picMk id="65" creationId="{392F7E77-6067-4750-9947-DC2EACE9590C}"/>
          </ac:picMkLst>
        </pc:picChg>
        <pc:picChg chg="add del mod">
          <ac:chgData name="Müller, Kurt (SI BP S TSS TR)" userId="e7e82c7e-80c6-42a5-ab71-24588885b7fe" providerId="ADAL" clId="{167FC261-9733-43D8-A9C5-B462733A4DDF}" dt="2021-10-06T12:09:28.443" v="2067" actId="1076"/>
          <ac:picMkLst>
            <pc:docMk/>
            <pc:sldMk cId="3619124892" sldId="2509"/>
            <ac:picMk id="67" creationId="{BE5C9D24-0475-4BE1-A8B2-5350217B14D0}"/>
          </ac:picMkLst>
        </pc:picChg>
        <pc:picChg chg="add mod">
          <ac:chgData name="Müller, Kurt (SI BP S TSS TR)" userId="e7e82c7e-80c6-42a5-ab71-24588885b7fe" providerId="ADAL" clId="{167FC261-9733-43D8-A9C5-B462733A4DDF}" dt="2021-10-06T12:14:45.132" v="2134" actId="1076"/>
          <ac:picMkLst>
            <pc:docMk/>
            <pc:sldMk cId="3619124892" sldId="2509"/>
            <ac:picMk id="70" creationId="{5B26EF9C-3CCC-42EA-8A47-496C7A2025B7}"/>
          </ac:picMkLst>
        </pc:picChg>
        <pc:picChg chg="add del mod">
          <ac:chgData name="Müller, Kurt (SI BP S TSS TR)" userId="e7e82c7e-80c6-42a5-ab71-24588885b7fe" providerId="ADAL" clId="{167FC261-9733-43D8-A9C5-B462733A4DDF}" dt="2021-10-06T12:10:50.894" v="2086" actId="478"/>
          <ac:picMkLst>
            <pc:docMk/>
            <pc:sldMk cId="3619124892" sldId="2509"/>
            <ac:picMk id="71" creationId="{537E02F3-22FF-4739-9B38-08A0C27255AD}"/>
          </ac:picMkLst>
        </pc:picChg>
        <pc:picChg chg="add mod">
          <ac:chgData name="Müller, Kurt (SI BP S TSS TR)" userId="e7e82c7e-80c6-42a5-ab71-24588885b7fe" providerId="ADAL" clId="{167FC261-9733-43D8-A9C5-B462733A4DDF}" dt="2021-10-06T12:14:45.132" v="2134" actId="1076"/>
          <ac:picMkLst>
            <pc:docMk/>
            <pc:sldMk cId="3619124892" sldId="2509"/>
            <ac:picMk id="73" creationId="{AF3EBC85-962D-41C8-816B-5E79EE824484}"/>
          </ac:picMkLst>
        </pc:picChg>
        <pc:picChg chg="add mod">
          <ac:chgData name="Müller, Kurt (SI BP S TSS TR)" userId="e7e82c7e-80c6-42a5-ab71-24588885b7fe" providerId="ADAL" clId="{167FC261-9733-43D8-A9C5-B462733A4DDF}" dt="2021-10-06T12:14:45.132" v="2134" actId="1076"/>
          <ac:picMkLst>
            <pc:docMk/>
            <pc:sldMk cId="3619124892" sldId="2509"/>
            <ac:picMk id="74" creationId="{754EF2AC-45B0-4000-B8F6-FFFF08F1A195}"/>
          </ac:picMkLst>
        </pc:picChg>
        <pc:picChg chg="add mod">
          <ac:chgData name="Müller, Kurt (SI BP S TSS TR)" userId="e7e82c7e-80c6-42a5-ab71-24588885b7fe" providerId="ADAL" clId="{167FC261-9733-43D8-A9C5-B462733A4DDF}" dt="2021-10-06T12:12:51.027" v="2114" actId="1076"/>
          <ac:picMkLst>
            <pc:docMk/>
            <pc:sldMk cId="3619124892" sldId="2509"/>
            <ac:picMk id="75" creationId="{4A64A827-0790-4025-8C79-C767303BFFB8}"/>
          </ac:picMkLst>
        </pc:picChg>
        <pc:picChg chg="del">
          <ac:chgData name="Müller, Kurt (SI BP S TSS TR)" userId="e7e82c7e-80c6-42a5-ab71-24588885b7fe" providerId="ADAL" clId="{167FC261-9733-43D8-A9C5-B462733A4DDF}" dt="2021-10-06T11:45:19.237" v="1795" actId="478"/>
          <ac:picMkLst>
            <pc:docMk/>
            <pc:sldMk cId="3619124892" sldId="2509"/>
            <ac:picMk id="1026" creationId="{2439522E-52BC-467C-A6B9-368407224565}"/>
          </ac:picMkLst>
        </pc:picChg>
        <pc:cxnChg chg="del">
          <ac:chgData name="Müller, Kurt (SI BP S TSS TR)" userId="e7e82c7e-80c6-42a5-ab71-24588885b7fe" providerId="ADAL" clId="{167FC261-9733-43D8-A9C5-B462733A4DDF}" dt="2021-10-06T11:45:19.237" v="1795" actId="478"/>
          <ac:cxnSpMkLst>
            <pc:docMk/>
            <pc:sldMk cId="3619124892" sldId="2509"/>
            <ac:cxnSpMk id="4" creationId="{7B8A7F63-7BC1-4463-B782-2A380799D3E2}"/>
          </ac:cxnSpMkLst>
        </pc:cxnChg>
        <pc:cxnChg chg="del">
          <ac:chgData name="Müller, Kurt (SI BP S TSS TR)" userId="e7e82c7e-80c6-42a5-ab71-24588885b7fe" providerId="ADAL" clId="{167FC261-9733-43D8-A9C5-B462733A4DDF}" dt="2021-10-06T11:45:13.907" v="1793" actId="478"/>
          <ac:cxnSpMkLst>
            <pc:docMk/>
            <pc:sldMk cId="3619124892" sldId="2509"/>
            <ac:cxnSpMk id="22" creationId="{4D321D47-476C-4A70-A3F4-6BE379863E16}"/>
          </ac:cxnSpMkLst>
        </pc:cxnChg>
        <pc:cxnChg chg="del">
          <ac:chgData name="Müller, Kurt (SI BP S TSS TR)" userId="e7e82c7e-80c6-42a5-ab71-24588885b7fe" providerId="ADAL" clId="{167FC261-9733-43D8-A9C5-B462733A4DDF}" dt="2021-10-06T11:45:13.907" v="1793" actId="478"/>
          <ac:cxnSpMkLst>
            <pc:docMk/>
            <pc:sldMk cId="3619124892" sldId="2509"/>
            <ac:cxnSpMk id="38" creationId="{94FBC666-DBC7-4571-B84C-BDBE00252F2D}"/>
          </ac:cxnSpMkLst>
        </pc:cxnChg>
        <pc:cxnChg chg="del">
          <ac:chgData name="Müller, Kurt (SI BP S TSS TR)" userId="e7e82c7e-80c6-42a5-ab71-24588885b7fe" providerId="ADAL" clId="{167FC261-9733-43D8-A9C5-B462733A4DDF}" dt="2021-10-06T11:45:13.907" v="1793" actId="478"/>
          <ac:cxnSpMkLst>
            <pc:docMk/>
            <pc:sldMk cId="3619124892" sldId="2509"/>
            <ac:cxnSpMk id="39" creationId="{F58B6CA4-9F5A-4032-AA62-E5E6D478C361}"/>
          </ac:cxnSpMkLst>
        </pc:cxnChg>
        <pc:cxnChg chg="del">
          <ac:chgData name="Müller, Kurt (SI BP S TSS TR)" userId="e7e82c7e-80c6-42a5-ab71-24588885b7fe" providerId="ADAL" clId="{167FC261-9733-43D8-A9C5-B462733A4DDF}" dt="2021-10-06T11:45:13.907" v="1793" actId="478"/>
          <ac:cxnSpMkLst>
            <pc:docMk/>
            <pc:sldMk cId="3619124892" sldId="2509"/>
            <ac:cxnSpMk id="53" creationId="{401AD564-C527-4D4E-9BD1-5C5326287E65}"/>
          </ac:cxnSpMkLst>
        </pc:cxnChg>
        <pc:cxnChg chg="del">
          <ac:chgData name="Müller, Kurt (SI BP S TSS TR)" userId="e7e82c7e-80c6-42a5-ab71-24588885b7fe" providerId="ADAL" clId="{167FC261-9733-43D8-A9C5-B462733A4DDF}" dt="2021-10-06T11:45:19.237" v="1795" actId="478"/>
          <ac:cxnSpMkLst>
            <pc:docMk/>
            <pc:sldMk cId="3619124892" sldId="2509"/>
            <ac:cxnSpMk id="55" creationId="{978EFF0E-64AC-4292-8C3F-54F72A3F337D}"/>
          </ac:cxnSpMkLst>
        </pc:cxnChg>
        <pc:cxnChg chg="del">
          <ac:chgData name="Müller, Kurt (SI BP S TSS TR)" userId="e7e82c7e-80c6-42a5-ab71-24588885b7fe" providerId="ADAL" clId="{167FC261-9733-43D8-A9C5-B462733A4DDF}" dt="2021-10-06T11:45:19.237" v="1795" actId="478"/>
          <ac:cxnSpMkLst>
            <pc:docMk/>
            <pc:sldMk cId="3619124892" sldId="2509"/>
            <ac:cxnSpMk id="58" creationId="{6F1759E1-9AD1-448A-BCC1-00BC1C735B0B}"/>
          </ac:cxnSpMkLst>
        </pc:cxnChg>
        <pc:cxnChg chg="add mod">
          <ac:chgData name="Müller, Kurt (SI BP S TSS TR)" userId="e7e82c7e-80c6-42a5-ab71-24588885b7fe" providerId="ADAL" clId="{167FC261-9733-43D8-A9C5-B462733A4DDF}" dt="2021-10-06T12:12:44.396" v="2112" actId="14100"/>
          <ac:cxnSpMkLst>
            <pc:docMk/>
            <pc:sldMk cId="3619124892" sldId="2509"/>
            <ac:cxnSpMk id="76" creationId="{199FCBBB-23C7-4ACD-A436-D8DA76CCC692}"/>
          </ac:cxnSpMkLst>
        </pc:cxnChg>
        <pc:cxnChg chg="add del mod">
          <ac:chgData name="Müller, Kurt (SI BP S TSS TR)" userId="e7e82c7e-80c6-42a5-ab71-24588885b7fe" providerId="ADAL" clId="{167FC261-9733-43D8-A9C5-B462733A4DDF}" dt="2021-10-06T12:14:37.939" v="2132" actId="478"/>
          <ac:cxnSpMkLst>
            <pc:docMk/>
            <pc:sldMk cId="3619124892" sldId="2509"/>
            <ac:cxnSpMk id="80" creationId="{0B01AE9D-008E-4D90-89BD-8155CBBEBBCA}"/>
          </ac:cxnSpMkLst>
        </pc:cxnChg>
        <pc:cxnChg chg="add mod">
          <ac:chgData name="Müller, Kurt (SI BP S TSS TR)" userId="e7e82c7e-80c6-42a5-ab71-24588885b7fe" providerId="ADAL" clId="{167FC261-9733-43D8-A9C5-B462733A4DDF}" dt="2021-10-06T12:21:46.298" v="2226" actId="14100"/>
          <ac:cxnSpMkLst>
            <pc:docMk/>
            <pc:sldMk cId="3619124892" sldId="2509"/>
            <ac:cxnSpMk id="81" creationId="{4C940D8D-95D6-476E-9926-EFBC8E551E63}"/>
          </ac:cxnSpMkLst>
        </pc:cxnChg>
        <pc:cxnChg chg="add mod">
          <ac:chgData name="Müller, Kurt (SI BP S TSS TR)" userId="e7e82c7e-80c6-42a5-ab71-24588885b7fe" providerId="ADAL" clId="{167FC261-9733-43D8-A9C5-B462733A4DDF}" dt="2021-10-06T12:23:41.091" v="2253" actId="14100"/>
          <ac:cxnSpMkLst>
            <pc:docMk/>
            <pc:sldMk cId="3619124892" sldId="2509"/>
            <ac:cxnSpMk id="83" creationId="{D1A3B89B-ED54-455E-A1C5-43CBF06B730D}"/>
          </ac:cxnSpMkLst>
        </pc:cxnChg>
        <pc:cxnChg chg="add mod">
          <ac:chgData name="Müller, Kurt (SI BP S TSS TR)" userId="e7e82c7e-80c6-42a5-ab71-24588885b7fe" providerId="ADAL" clId="{167FC261-9733-43D8-A9C5-B462733A4DDF}" dt="2021-10-06T12:23:20.123" v="2251" actId="14100"/>
          <ac:cxnSpMkLst>
            <pc:docMk/>
            <pc:sldMk cId="3619124892" sldId="2509"/>
            <ac:cxnSpMk id="85" creationId="{C1E9EA43-BBB2-40DC-8066-0115F08F809A}"/>
          </ac:cxnSpMkLst>
        </pc:cxnChg>
        <pc:cxnChg chg="add mod">
          <ac:chgData name="Müller, Kurt (SI BP S TSS TR)" userId="e7e82c7e-80c6-42a5-ab71-24588885b7fe" providerId="ADAL" clId="{167FC261-9733-43D8-A9C5-B462733A4DDF}" dt="2021-10-06T12:23:16.179" v="2250" actId="14100"/>
          <ac:cxnSpMkLst>
            <pc:docMk/>
            <pc:sldMk cId="3619124892" sldId="2509"/>
            <ac:cxnSpMk id="89" creationId="{8A046D43-F052-4625-9770-432260953FB9}"/>
          </ac:cxnSpMkLst>
        </pc:cxnChg>
      </pc:sldChg>
    </pc:docChg>
  </pc:docChgLst>
  <pc:docChgLst>
    <pc:chgData name="Müller, Kurt (SI BP S TSS TR)" userId="e7e82c7e-80c6-42a5-ab71-24588885b7fe" providerId="ADAL" clId="{32F858BE-4F85-41AF-A90D-0B6DEF247AE5}"/>
    <pc:docChg chg="custSel addSld delSld modSld sldOrd">
      <pc:chgData name="Müller, Kurt (SI BP S TSS TR)" userId="e7e82c7e-80c6-42a5-ab71-24588885b7fe" providerId="ADAL" clId="{32F858BE-4F85-41AF-A90D-0B6DEF247AE5}" dt="2021-07-30T12:52:00.494" v="269" actId="1076"/>
      <pc:docMkLst>
        <pc:docMk/>
      </pc:docMkLst>
      <pc:sldChg chg="del">
        <pc:chgData name="Müller, Kurt (SI BP S TSS TR)" userId="e7e82c7e-80c6-42a5-ab71-24588885b7fe" providerId="ADAL" clId="{32F858BE-4F85-41AF-A90D-0B6DEF247AE5}" dt="2021-07-30T12:44:34.480" v="267" actId="47"/>
        <pc:sldMkLst>
          <pc:docMk/>
          <pc:sldMk cId="3044083358" sldId="268"/>
        </pc:sldMkLst>
      </pc:sldChg>
      <pc:sldChg chg="add">
        <pc:chgData name="Müller, Kurt (SI BP S TSS TR)" userId="e7e82c7e-80c6-42a5-ab71-24588885b7fe" providerId="ADAL" clId="{32F858BE-4F85-41AF-A90D-0B6DEF247AE5}" dt="2021-07-30T12:40:56.246" v="259"/>
        <pc:sldMkLst>
          <pc:docMk/>
          <pc:sldMk cId="2398209365" sldId="494"/>
        </pc:sldMkLst>
      </pc:sldChg>
      <pc:sldChg chg="del">
        <pc:chgData name="Müller, Kurt (SI BP S TSS TR)" userId="e7e82c7e-80c6-42a5-ab71-24588885b7fe" providerId="ADAL" clId="{32F858BE-4F85-41AF-A90D-0B6DEF247AE5}" dt="2021-07-30T12:40:43.840" v="258" actId="2696"/>
        <pc:sldMkLst>
          <pc:docMk/>
          <pc:sldMk cId="957695955" sldId="499"/>
        </pc:sldMkLst>
        <pc:spChg chg="add mod">
          <ac:chgData name="Müller, Kurt (SI BP S TSS TR)" userId="e7e82c7e-80c6-42a5-ab71-24588885b7fe" providerId="ADAL" clId="{32F858BE-4F85-41AF-A90D-0B6DEF247AE5}" dt="2021-07-30T12:41:00.967" v="261"/>
          <ac:spMkLst>
            <pc:docMk/>
            <pc:sldMk cId="957695955" sldId="499"/>
            <ac:spMk id="12" creationId="{FE9223A2-1E8C-40E7-A2B7-2123E42A0FCB}"/>
          </ac:spMkLst>
        </pc:spChg>
      </pc:sldChg>
      <pc:sldChg chg="del">
        <pc:chgData name="Müller, Kurt (SI BP S TSS TR)" userId="e7e82c7e-80c6-42a5-ab71-24588885b7fe" providerId="ADAL" clId="{32F858BE-4F85-41AF-A90D-0B6DEF247AE5}" dt="2021-07-30T12:03:35.495" v="0" actId="47"/>
        <pc:sldMkLst>
          <pc:docMk/>
          <pc:sldMk cId="0" sldId="500"/>
        </pc:sldMkLst>
      </pc:sldChg>
      <pc:sldChg chg="del">
        <pc:chgData name="Müller, Kurt (SI BP S TSS TR)" userId="e7e82c7e-80c6-42a5-ab71-24588885b7fe" providerId="ADAL" clId="{32F858BE-4F85-41AF-A90D-0B6DEF247AE5}" dt="2021-07-30T12:03:35.495" v="0" actId="47"/>
        <pc:sldMkLst>
          <pc:docMk/>
          <pc:sldMk cId="0" sldId="501"/>
        </pc:sldMkLst>
      </pc:sldChg>
      <pc:sldChg chg="del">
        <pc:chgData name="Müller, Kurt (SI BP S TSS TR)" userId="e7e82c7e-80c6-42a5-ab71-24588885b7fe" providerId="ADAL" clId="{32F858BE-4F85-41AF-A90D-0B6DEF247AE5}" dt="2021-07-30T12:03:35.495" v="0" actId="47"/>
        <pc:sldMkLst>
          <pc:docMk/>
          <pc:sldMk cId="0" sldId="502"/>
        </pc:sldMkLst>
      </pc:sldChg>
      <pc:sldChg chg="del">
        <pc:chgData name="Müller, Kurt (SI BP S TSS TR)" userId="e7e82c7e-80c6-42a5-ab71-24588885b7fe" providerId="ADAL" clId="{32F858BE-4F85-41AF-A90D-0B6DEF247AE5}" dt="2021-07-30T12:03:35.495" v="0" actId="47"/>
        <pc:sldMkLst>
          <pc:docMk/>
          <pc:sldMk cId="0" sldId="503"/>
        </pc:sldMkLst>
      </pc:sldChg>
      <pc:sldChg chg="del">
        <pc:chgData name="Müller, Kurt (SI BP S TSS TR)" userId="e7e82c7e-80c6-42a5-ab71-24588885b7fe" providerId="ADAL" clId="{32F858BE-4F85-41AF-A90D-0B6DEF247AE5}" dt="2021-07-30T12:03:35.495" v="0" actId="47"/>
        <pc:sldMkLst>
          <pc:docMk/>
          <pc:sldMk cId="0" sldId="504"/>
        </pc:sldMkLst>
      </pc:sldChg>
      <pc:sldChg chg="del">
        <pc:chgData name="Müller, Kurt (SI BP S TSS TR)" userId="e7e82c7e-80c6-42a5-ab71-24588885b7fe" providerId="ADAL" clId="{32F858BE-4F85-41AF-A90D-0B6DEF247AE5}" dt="2021-07-30T12:03:35.495" v="0" actId="47"/>
        <pc:sldMkLst>
          <pc:docMk/>
          <pc:sldMk cId="0" sldId="505"/>
        </pc:sldMkLst>
      </pc:sldChg>
      <pc:sldChg chg="del">
        <pc:chgData name="Müller, Kurt (SI BP S TSS TR)" userId="e7e82c7e-80c6-42a5-ab71-24588885b7fe" providerId="ADAL" clId="{32F858BE-4F85-41AF-A90D-0B6DEF247AE5}" dt="2021-07-30T12:03:35.495" v="0" actId="47"/>
        <pc:sldMkLst>
          <pc:docMk/>
          <pc:sldMk cId="0" sldId="506"/>
        </pc:sldMkLst>
      </pc:sldChg>
      <pc:sldChg chg="del">
        <pc:chgData name="Müller, Kurt (SI BP S TSS TR)" userId="e7e82c7e-80c6-42a5-ab71-24588885b7fe" providerId="ADAL" clId="{32F858BE-4F85-41AF-A90D-0B6DEF247AE5}" dt="2021-07-30T12:03:35.495" v="0" actId="47"/>
        <pc:sldMkLst>
          <pc:docMk/>
          <pc:sldMk cId="0" sldId="507"/>
        </pc:sldMkLst>
      </pc:sldChg>
      <pc:sldChg chg="del">
        <pc:chgData name="Müller, Kurt (SI BP S TSS TR)" userId="e7e82c7e-80c6-42a5-ab71-24588885b7fe" providerId="ADAL" clId="{32F858BE-4F85-41AF-A90D-0B6DEF247AE5}" dt="2021-07-30T12:03:35.495" v="0" actId="47"/>
        <pc:sldMkLst>
          <pc:docMk/>
          <pc:sldMk cId="0" sldId="508"/>
        </pc:sldMkLst>
      </pc:sldChg>
      <pc:sldChg chg="del">
        <pc:chgData name="Müller, Kurt (SI BP S TSS TR)" userId="e7e82c7e-80c6-42a5-ab71-24588885b7fe" providerId="ADAL" clId="{32F858BE-4F85-41AF-A90D-0B6DEF247AE5}" dt="2021-07-30T12:03:35.495" v="0" actId="47"/>
        <pc:sldMkLst>
          <pc:docMk/>
          <pc:sldMk cId="0" sldId="509"/>
        </pc:sldMkLst>
      </pc:sldChg>
      <pc:sldChg chg="modSp">
        <pc:chgData name="Müller, Kurt (SI BP S TSS TR)" userId="e7e82c7e-80c6-42a5-ab71-24588885b7fe" providerId="ADAL" clId="{32F858BE-4F85-41AF-A90D-0B6DEF247AE5}" dt="2021-07-30T12:25:27.252" v="198" actId="120"/>
        <pc:sldMkLst>
          <pc:docMk/>
          <pc:sldMk cId="0" sldId="510"/>
        </pc:sldMkLst>
        <pc:spChg chg="mod">
          <ac:chgData name="Müller, Kurt (SI BP S TSS TR)" userId="e7e82c7e-80c6-42a5-ab71-24588885b7fe" providerId="ADAL" clId="{32F858BE-4F85-41AF-A90D-0B6DEF247AE5}" dt="2021-07-30T12:25:27.252" v="198" actId="120"/>
          <ac:spMkLst>
            <pc:docMk/>
            <pc:sldMk cId="0" sldId="510"/>
            <ac:spMk id="17415" creationId="{36173BE0-04EA-4AA3-8C97-EE92E0C74189}"/>
          </ac:spMkLst>
        </pc:spChg>
      </pc:sldChg>
      <pc:sldChg chg="del">
        <pc:chgData name="Müller, Kurt (SI BP S TSS TR)" userId="e7e82c7e-80c6-42a5-ab71-24588885b7fe" providerId="ADAL" clId="{32F858BE-4F85-41AF-A90D-0B6DEF247AE5}" dt="2021-07-30T12:03:35.495" v="0" actId="47"/>
        <pc:sldMkLst>
          <pc:docMk/>
          <pc:sldMk cId="0" sldId="511"/>
        </pc:sldMkLst>
      </pc:sldChg>
      <pc:sldChg chg="del">
        <pc:chgData name="Müller, Kurt (SI BP S TSS TR)" userId="e7e82c7e-80c6-42a5-ab71-24588885b7fe" providerId="ADAL" clId="{32F858BE-4F85-41AF-A90D-0B6DEF247AE5}" dt="2021-07-30T12:03:35.495" v="0" actId="47"/>
        <pc:sldMkLst>
          <pc:docMk/>
          <pc:sldMk cId="0" sldId="512"/>
        </pc:sldMkLst>
      </pc:sldChg>
      <pc:sldChg chg="mod modShow">
        <pc:chgData name="Müller, Kurt (SI BP S TSS TR)" userId="e7e82c7e-80c6-42a5-ab71-24588885b7fe" providerId="ADAL" clId="{32F858BE-4F85-41AF-A90D-0B6DEF247AE5}" dt="2021-07-30T12:17:56.020" v="121" actId="729"/>
        <pc:sldMkLst>
          <pc:docMk/>
          <pc:sldMk cId="0" sldId="513"/>
        </pc:sldMkLst>
      </pc:sldChg>
      <pc:sldChg chg="addSp modSp mod">
        <pc:chgData name="Müller, Kurt (SI BP S TSS TR)" userId="e7e82c7e-80c6-42a5-ab71-24588885b7fe" providerId="ADAL" clId="{32F858BE-4F85-41AF-A90D-0B6DEF247AE5}" dt="2021-07-30T12:24:14.376" v="190" actId="20577"/>
        <pc:sldMkLst>
          <pc:docMk/>
          <pc:sldMk cId="0" sldId="514"/>
        </pc:sldMkLst>
        <pc:spChg chg="add mod">
          <ac:chgData name="Müller, Kurt (SI BP S TSS TR)" userId="e7e82c7e-80c6-42a5-ab71-24588885b7fe" providerId="ADAL" clId="{32F858BE-4F85-41AF-A90D-0B6DEF247AE5}" dt="2021-07-30T12:11:56.280" v="51" actId="1076"/>
          <ac:spMkLst>
            <pc:docMk/>
            <pc:sldMk cId="0" sldId="514"/>
            <ac:spMk id="2" creationId="{3F877412-0576-48D5-80F2-918F829CDD09}"/>
          </ac:spMkLst>
        </pc:spChg>
        <pc:spChg chg="add mod">
          <ac:chgData name="Müller, Kurt (SI BP S TSS TR)" userId="e7e82c7e-80c6-42a5-ab71-24588885b7fe" providerId="ADAL" clId="{32F858BE-4F85-41AF-A90D-0B6DEF247AE5}" dt="2021-07-30T12:24:14.376" v="190" actId="20577"/>
          <ac:spMkLst>
            <pc:docMk/>
            <pc:sldMk cId="0" sldId="514"/>
            <ac:spMk id="13" creationId="{3972A43F-EB41-488D-8627-93CE8199840D}"/>
          </ac:spMkLst>
        </pc:spChg>
        <pc:spChg chg="mod">
          <ac:chgData name="Müller, Kurt (SI BP S TSS TR)" userId="e7e82c7e-80c6-42a5-ab71-24588885b7fe" providerId="ADAL" clId="{32F858BE-4F85-41AF-A90D-0B6DEF247AE5}" dt="2021-07-30T12:10:52.336" v="10" actId="13926"/>
          <ac:spMkLst>
            <pc:docMk/>
            <pc:sldMk cId="0" sldId="514"/>
            <ac:spMk id="10247" creationId="{730A2D42-A39F-44B1-8CB9-383E9803AA36}"/>
          </ac:spMkLst>
        </pc:spChg>
        <pc:picChg chg="mod">
          <ac:chgData name="Müller, Kurt (SI BP S TSS TR)" userId="e7e82c7e-80c6-42a5-ab71-24588885b7fe" providerId="ADAL" clId="{32F858BE-4F85-41AF-A90D-0B6DEF247AE5}" dt="2021-07-30T12:09:59.344" v="5" actId="1076"/>
          <ac:picMkLst>
            <pc:docMk/>
            <pc:sldMk cId="0" sldId="514"/>
            <ac:picMk id="10248" creationId="{993D4F55-A126-49D3-A3C4-289126CEDCE6}"/>
          </ac:picMkLst>
        </pc:picChg>
        <pc:picChg chg="mod">
          <ac:chgData name="Müller, Kurt (SI BP S TSS TR)" userId="e7e82c7e-80c6-42a5-ab71-24588885b7fe" providerId="ADAL" clId="{32F858BE-4F85-41AF-A90D-0B6DEF247AE5}" dt="2021-07-30T12:10:02.079" v="6" actId="1076"/>
          <ac:picMkLst>
            <pc:docMk/>
            <pc:sldMk cId="0" sldId="514"/>
            <ac:picMk id="10250" creationId="{406FD27D-469D-45C1-85C0-3929A8E39F54}"/>
          </ac:picMkLst>
        </pc:picChg>
      </pc:sldChg>
      <pc:sldChg chg="modSp ord">
        <pc:chgData name="Müller, Kurt (SI BP S TSS TR)" userId="e7e82c7e-80c6-42a5-ab71-24588885b7fe" providerId="ADAL" clId="{32F858BE-4F85-41AF-A90D-0B6DEF247AE5}" dt="2021-07-30T12:14:16.114" v="84"/>
        <pc:sldMkLst>
          <pc:docMk/>
          <pc:sldMk cId="0" sldId="515"/>
        </pc:sldMkLst>
        <pc:spChg chg="mod">
          <ac:chgData name="Müller, Kurt (SI BP S TSS TR)" userId="e7e82c7e-80c6-42a5-ab71-24588885b7fe" providerId="ADAL" clId="{32F858BE-4F85-41AF-A90D-0B6DEF247AE5}" dt="2021-07-30T12:13:50.144" v="82" actId="120"/>
          <ac:spMkLst>
            <pc:docMk/>
            <pc:sldMk cId="0" sldId="515"/>
            <ac:spMk id="15367" creationId="{A4E4A51D-8BF3-4D62-92A0-DA1DA6141322}"/>
          </ac:spMkLst>
        </pc:spChg>
        <pc:spChg chg="mod">
          <ac:chgData name="Müller, Kurt (SI BP S TSS TR)" userId="e7e82c7e-80c6-42a5-ab71-24588885b7fe" providerId="ADAL" clId="{32F858BE-4F85-41AF-A90D-0B6DEF247AE5}" dt="2021-07-30T12:13:50.144" v="82" actId="120"/>
          <ac:spMkLst>
            <pc:docMk/>
            <pc:sldMk cId="0" sldId="515"/>
            <ac:spMk id="15369" creationId="{A1434D00-D92C-4D28-A75B-DD832ECF2F48}"/>
          </ac:spMkLst>
        </pc:spChg>
        <pc:spChg chg="mod">
          <ac:chgData name="Müller, Kurt (SI BP S TSS TR)" userId="e7e82c7e-80c6-42a5-ab71-24588885b7fe" providerId="ADAL" clId="{32F858BE-4F85-41AF-A90D-0B6DEF247AE5}" dt="2021-07-30T12:13:50.144" v="82" actId="120"/>
          <ac:spMkLst>
            <pc:docMk/>
            <pc:sldMk cId="0" sldId="515"/>
            <ac:spMk id="15370" creationId="{C219AFCD-4E0F-4F43-B0C5-57A016CD8ED0}"/>
          </ac:spMkLst>
        </pc:spChg>
        <pc:spChg chg="mod">
          <ac:chgData name="Müller, Kurt (SI BP S TSS TR)" userId="e7e82c7e-80c6-42a5-ab71-24588885b7fe" providerId="ADAL" clId="{32F858BE-4F85-41AF-A90D-0B6DEF247AE5}" dt="2021-07-30T12:13:50.144" v="82" actId="120"/>
          <ac:spMkLst>
            <pc:docMk/>
            <pc:sldMk cId="0" sldId="515"/>
            <ac:spMk id="15371" creationId="{033DD884-89E2-4537-AC27-FB483CD3A46C}"/>
          </ac:spMkLst>
        </pc:spChg>
        <pc:spChg chg="mod">
          <ac:chgData name="Müller, Kurt (SI BP S TSS TR)" userId="e7e82c7e-80c6-42a5-ab71-24588885b7fe" providerId="ADAL" clId="{32F858BE-4F85-41AF-A90D-0B6DEF247AE5}" dt="2021-07-30T12:13:50.144" v="82" actId="120"/>
          <ac:spMkLst>
            <pc:docMk/>
            <pc:sldMk cId="0" sldId="515"/>
            <ac:spMk id="15372" creationId="{210DBC41-1773-4D10-AC1B-BABFD805BA58}"/>
          </ac:spMkLst>
        </pc:spChg>
      </pc:sldChg>
      <pc:sldChg chg="modSp ord">
        <pc:chgData name="Müller, Kurt (SI BP S TSS TR)" userId="e7e82c7e-80c6-42a5-ab71-24588885b7fe" providerId="ADAL" clId="{32F858BE-4F85-41AF-A90D-0B6DEF247AE5}" dt="2021-07-30T12:14:37.365" v="87"/>
        <pc:sldMkLst>
          <pc:docMk/>
          <pc:sldMk cId="0" sldId="516"/>
        </pc:sldMkLst>
        <pc:spChg chg="mod">
          <ac:chgData name="Müller, Kurt (SI BP S TSS TR)" userId="e7e82c7e-80c6-42a5-ab71-24588885b7fe" providerId="ADAL" clId="{32F858BE-4F85-41AF-A90D-0B6DEF247AE5}" dt="2021-07-30T12:14:31.824" v="85" actId="120"/>
          <ac:spMkLst>
            <pc:docMk/>
            <pc:sldMk cId="0" sldId="516"/>
            <ac:spMk id="16391" creationId="{7515AE44-83FA-45BC-97E8-A3D88E6042BC}"/>
          </ac:spMkLst>
        </pc:spChg>
        <pc:spChg chg="mod">
          <ac:chgData name="Müller, Kurt (SI BP S TSS TR)" userId="e7e82c7e-80c6-42a5-ab71-24588885b7fe" providerId="ADAL" clId="{32F858BE-4F85-41AF-A90D-0B6DEF247AE5}" dt="2021-07-30T12:14:31.824" v="85" actId="120"/>
          <ac:spMkLst>
            <pc:docMk/>
            <pc:sldMk cId="0" sldId="516"/>
            <ac:spMk id="16392" creationId="{153417FF-0922-4AED-824B-1D65D8870ECD}"/>
          </ac:spMkLst>
        </pc:spChg>
        <pc:spChg chg="mod">
          <ac:chgData name="Müller, Kurt (SI BP S TSS TR)" userId="e7e82c7e-80c6-42a5-ab71-24588885b7fe" providerId="ADAL" clId="{32F858BE-4F85-41AF-A90D-0B6DEF247AE5}" dt="2021-07-30T12:14:31.824" v="85" actId="120"/>
          <ac:spMkLst>
            <pc:docMk/>
            <pc:sldMk cId="0" sldId="516"/>
            <ac:spMk id="16393" creationId="{7559EFFB-176A-4829-8B3E-EF05CCF4A896}"/>
          </ac:spMkLst>
        </pc:spChg>
        <pc:spChg chg="mod">
          <ac:chgData name="Müller, Kurt (SI BP S TSS TR)" userId="e7e82c7e-80c6-42a5-ab71-24588885b7fe" providerId="ADAL" clId="{32F858BE-4F85-41AF-A90D-0B6DEF247AE5}" dt="2021-07-30T12:14:31.824" v="85" actId="120"/>
          <ac:spMkLst>
            <pc:docMk/>
            <pc:sldMk cId="0" sldId="516"/>
            <ac:spMk id="16394" creationId="{8BDB2C33-3D3C-44EC-A2F8-318997000BA8}"/>
          </ac:spMkLst>
        </pc:spChg>
        <pc:spChg chg="mod">
          <ac:chgData name="Müller, Kurt (SI BP S TSS TR)" userId="e7e82c7e-80c6-42a5-ab71-24588885b7fe" providerId="ADAL" clId="{32F858BE-4F85-41AF-A90D-0B6DEF247AE5}" dt="2021-07-30T12:14:31.824" v="85" actId="120"/>
          <ac:spMkLst>
            <pc:docMk/>
            <pc:sldMk cId="0" sldId="516"/>
            <ac:spMk id="16395" creationId="{3A9AF3BA-7B5D-45CE-A3CB-BCFB64B378DC}"/>
          </ac:spMkLst>
        </pc:spChg>
      </pc:sldChg>
      <pc:sldChg chg="addSp modSp mod modShow">
        <pc:chgData name="Müller, Kurt (SI BP S TSS TR)" userId="e7e82c7e-80c6-42a5-ab71-24588885b7fe" providerId="ADAL" clId="{32F858BE-4F85-41AF-A90D-0B6DEF247AE5}" dt="2021-07-30T12:13:43.434" v="81" actId="729"/>
        <pc:sldMkLst>
          <pc:docMk/>
          <pc:sldMk cId="0" sldId="517"/>
        </pc:sldMkLst>
        <pc:spChg chg="add mod">
          <ac:chgData name="Müller, Kurt (SI BP S TSS TR)" userId="e7e82c7e-80c6-42a5-ab71-24588885b7fe" providerId="ADAL" clId="{32F858BE-4F85-41AF-A90D-0B6DEF247AE5}" dt="2021-07-30T12:13:38.936" v="80"/>
          <ac:spMkLst>
            <pc:docMk/>
            <pc:sldMk cId="0" sldId="517"/>
            <ac:spMk id="12" creationId="{F2ABB040-5C98-43C1-A215-5B6C8670E03A}"/>
          </ac:spMkLst>
        </pc:spChg>
      </pc:sldChg>
      <pc:sldChg chg="addSp modSp mod modShow">
        <pc:chgData name="Müller, Kurt (SI BP S TSS TR)" userId="e7e82c7e-80c6-42a5-ab71-24588885b7fe" providerId="ADAL" clId="{32F858BE-4F85-41AF-A90D-0B6DEF247AE5}" dt="2021-07-30T12:13:33.756" v="79" actId="113"/>
        <pc:sldMkLst>
          <pc:docMk/>
          <pc:sldMk cId="0" sldId="518"/>
        </pc:sldMkLst>
        <pc:spChg chg="add mod">
          <ac:chgData name="Müller, Kurt (SI BP S TSS TR)" userId="e7e82c7e-80c6-42a5-ab71-24588885b7fe" providerId="ADAL" clId="{32F858BE-4F85-41AF-A90D-0B6DEF247AE5}" dt="2021-07-30T12:13:33.756" v="79" actId="113"/>
          <ac:spMkLst>
            <pc:docMk/>
            <pc:sldMk cId="0" sldId="518"/>
            <ac:spMk id="14" creationId="{3651DAE1-F620-47DB-A50A-4DB1A7ABAA7A}"/>
          </ac:spMkLst>
        </pc:spChg>
      </pc:sldChg>
      <pc:sldChg chg="addSp modSp mod modShow">
        <pc:chgData name="Müller, Kurt (SI BP S TSS TR)" userId="e7e82c7e-80c6-42a5-ab71-24588885b7fe" providerId="ADAL" clId="{32F858BE-4F85-41AF-A90D-0B6DEF247AE5}" dt="2021-07-30T12:13:29.360" v="76" actId="1076"/>
        <pc:sldMkLst>
          <pc:docMk/>
          <pc:sldMk cId="0" sldId="519"/>
        </pc:sldMkLst>
        <pc:spChg chg="add mod">
          <ac:chgData name="Müller, Kurt (SI BP S TSS TR)" userId="e7e82c7e-80c6-42a5-ab71-24588885b7fe" providerId="ADAL" clId="{32F858BE-4F85-41AF-A90D-0B6DEF247AE5}" dt="2021-07-30T12:13:29.360" v="76" actId="1076"/>
          <ac:spMkLst>
            <pc:docMk/>
            <pc:sldMk cId="0" sldId="519"/>
            <ac:spMk id="13" creationId="{B21537CE-8943-47BF-A375-141B399BDD0F}"/>
          </ac:spMkLst>
        </pc:spChg>
      </pc:sldChg>
      <pc:sldChg chg="addSp modSp mod modShow">
        <pc:chgData name="Müller, Kurt (SI BP S TSS TR)" userId="e7e82c7e-80c6-42a5-ab71-24588885b7fe" providerId="ADAL" clId="{32F858BE-4F85-41AF-A90D-0B6DEF247AE5}" dt="2021-07-30T12:13:31.805" v="77"/>
        <pc:sldMkLst>
          <pc:docMk/>
          <pc:sldMk cId="0" sldId="520"/>
        </pc:sldMkLst>
        <pc:spChg chg="add mod">
          <ac:chgData name="Müller, Kurt (SI BP S TSS TR)" userId="e7e82c7e-80c6-42a5-ab71-24588885b7fe" providerId="ADAL" clId="{32F858BE-4F85-41AF-A90D-0B6DEF247AE5}" dt="2021-07-30T12:13:31.805" v="77"/>
          <ac:spMkLst>
            <pc:docMk/>
            <pc:sldMk cId="0" sldId="520"/>
            <ac:spMk id="11" creationId="{2654B8E1-CAD1-4106-BF56-5BDC8CC5B6D0}"/>
          </ac:spMkLst>
        </pc:spChg>
      </pc:sldChg>
      <pc:sldChg chg="del">
        <pc:chgData name="Müller, Kurt (SI BP S TSS TR)" userId="e7e82c7e-80c6-42a5-ab71-24588885b7fe" providerId="ADAL" clId="{32F858BE-4F85-41AF-A90D-0B6DEF247AE5}" dt="2021-07-30T12:03:35.495" v="0" actId="47"/>
        <pc:sldMkLst>
          <pc:docMk/>
          <pc:sldMk cId="2664962741" sldId="670"/>
        </pc:sldMkLst>
      </pc:sldChg>
      <pc:sldChg chg="del">
        <pc:chgData name="Müller, Kurt (SI BP S TSS TR)" userId="e7e82c7e-80c6-42a5-ab71-24588885b7fe" providerId="ADAL" clId="{32F858BE-4F85-41AF-A90D-0B6DEF247AE5}" dt="2021-07-30T12:44:34.480" v="267" actId="47"/>
        <pc:sldMkLst>
          <pc:docMk/>
          <pc:sldMk cId="3924494388" sldId="675"/>
        </pc:sldMkLst>
      </pc:sldChg>
      <pc:sldChg chg="del">
        <pc:chgData name="Müller, Kurt (SI BP S TSS TR)" userId="e7e82c7e-80c6-42a5-ab71-24588885b7fe" providerId="ADAL" clId="{32F858BE-4F85-41AF-A90D-0B6DEF247AE5}" dt="2021-07-30T12:44:34.480" v="267" actId="47"/>
        <pc:sldMkLst>
          <pc:docMk/>
          <pc:sldMk cId="3036489879" sldId="676"/>
        </pc:sldMkLst>
      </pc:sldChg>
      <pc:sldChg chg="del">
        <pc:chgData name="Müller, Kurt (SI BP S TSS TR)" userId="e7e82c7e-80c6-42a5-ab71-24588885b7fe" providerId="ADAL" clId="{32F858BE-4F85-41AF-A90D-0B6DEF247AE5}" dt="2021-07-30T12:03:35.495" v="0" actId="47"/>
        <pc:sldMkLst>
          <pc:docMk/>
          <pc:sldMk cId="0" sldId="704"/>
        </pc:sldMkLst>
      </pc:sldChg>
      <pc:sldChg chg="del">
        <pc:chgData name="Müller, Kurt (SI BP S TSS TR)" userId="e7e82c7e-80c6-42a5-ab71-24588885b7fe" providerId="ADAL" clId="{32F858BE-4F85-41AF-A90D-0B6DEF247AE5}" dt="2021-07-30T12:03:35.495" v="0" actId="47"/>
        <pc:sldMkLst>
          <pc:docMk/>
          <pc:sldMk cId="0" sldId="705"/>
        </pc:sldMkLst>
      </pc:sldChg>
      <pc:sldChg chg="del">
        <pc:chgData name="Müller, Kurt (SI BP S TSS TR)" userId="e7e82c7e-80c6-42a5-ab71-24588885b7fe" providerId="ADAL" clId="{32F858BE-4F85-41AF-A90D-0B6DEF247AE5}" dt="2021-07-30T12:03:35.495" v="0" actId="47"/>
        <pc:sldMkLst>
          <pc:docMk/>
          <pc:sldMk cId="0" sldId="706"/>
        </pc:sldMkLst>
      </pc:sldChg>
      <pc:sldChg chg="del">
        <pc:chgData name="Müller, Kurt (SI BP S TSS TR)" userId="e7e82c7e-80c6-42a5-ab71-24588885b7fe" providerId="ADAL" clId="{32F858BE-4F85-41AF-A90D-0B6DEF247AE5}" dt="2021-07-30T12:03:35.495" v="0" actId="47"/>
        <pc:sldMkLst>
          <pc:docMk/>
          <pc:sldMk cId="0" sldId="879"/>
        </pc:sldMkLst>
      </pc:sldChg>
      <pc:sldChg chg="del">
        <pc:chgData name="Müller, Kurt (SI BP S TSS TR)" userId="e7e82c7e-80c6-42a5-ab71-24588885b7fe" providerId="ADAL" clId="{32F858BE-4F85-41AF-A90D-0B6DEF247AE5}" dt="2021-07-30T12:03:35.495" v="0" actId="47"/>
        <pc:sldMkLst>
          <pc:docMk/>
          <pc:sldMk cId="0" sldId="880"/>
        </pc:sldMkLst>
      </pc:sldChg>
      <pc:sldChg chg="del">
        <pc:chgData name="Müller, Kurt (SI BP S TSS TR)" userId="e7e82c7e-80c6-42a5-ab71-24588885b7fe" providerId="ADAL" clId="{32F858BE-4F85-41AF-A90D-0B6DEF247AE5}" dt="2021-07-30T12:03:35.495" v="0" actId="47"/>
        <pc:sldMkLst>
          <pc:docMk/>
          <pc:sldMk cId="0" sldId="881"/>
        </pc:sldMkLst>
      </pc:sldChg>
      <pc:sldChg chg="del">
        <pc:chgData name="Müller, Kurt (SI BP S TSS TR)" userId="e7e82c7e-80c6-42a5-ab71-24588885b7fe" providerId="ADAL" clId="{32F858BE-4F85-41AF-A90D-0B6DEF247AE5}" dt="2021-07-30T12:03:35.495" v="0" actId="47"/>
        <pc:sldMkLst>
          <pc:docMk/>
          <pc:sldMk cId="0" sldId="882"/>
        </pc:sldMkLst>
      </pc:sldChg>
      <pc:sldChg chg="del">
        <pc:chgData name="Müller, Kurt (SI BP S TSS TR)" userId="e7e82c7e-80c6-42a5-ab71-24588885b7fe" providerId="ADAL" clId="{32F858BE-4F85-41AF-A90D-0B6DEF247AE5}" dt="2021-07-30T12:03:35.495" v="0" actId="47"/>
        <pc:sldMkLst>
          <pc:docMk/>
          <pc:sldMk cId="2421002243" sldId="935"/>
        </pc:sldMkLst>
      </pc:sldChg>
      <pc:sldChg chg="del">
        <pc:chgData name="Müller, Kurt (SI BP S TSS TR)" userId="e7e82c7e-80c6-42a5-ab71-24588885b7fe" providerId="ADAL" clId="{32F858BE-4F85-41AF-A90D-0B6DEF247AE5}" dt="2021-07-30T12:44:34.480" v="267" actId="47"/>
        <pc:sldMkLst>
          <pc:docMk/>
          <pc:sldMk cId="1204534231" sldId="948"/>
        </pc:sldMkLst>
      </pc:sldChg>
      <pc:sldChg chg="del">
        <pc:chgData name="Müller, Kurt (SI BP S TSS TR)" userId="e7e82c7e-80c6-42a5-ab71-24588885b7fe" providerId="ADAL" clId="{32F858BE-4F85-41AF-A90D-0B6DEF247AE5}" dt="2021-07-30T12:03:35.495" v="0" actId="47"/>
        <pc:sldMkLst>
          <pc:docMk/>
          <pc:sldMk cId="169197447" sldId="959"/>
        </pc:sldMkLst>
      </pc:sldChg>
      <pc:sldChg chg="modSp mod modShow">
        <pc:chgData name="Müller, Kurt (SI BP S TSS TR)" userId="e7e82c7e-80c6-42a5-ab71-24588885b7fe" providerId="ADAL" clId="{32F858BE-4F85-41AF-A90D-0B6DEF247AE5}" dt="2021-07-30T12:30:31.368" v="233" actId="729"/>
        <pc:sldMkLst>
          <pc:docMk/>
          <pc:sldMk cId="838106306" sldId="960"/>
        </pc:sldMkLst>
        <pc:spChg chg="mod">
          <ac:chgData name="Müller, Kurt (SI BP S TSS TR)" userId="e7e82c7e-80c6-42a5-ab71-24588885b7fe" providerId="ADAL" clId="{32F858BE-4F85-41AF-A90D-0B6DEF247AE5}" dt="2021-07-30T12:30:12.076" v="232" actId="120"/>
          <ac:spMkLst>
            <pc:docMk/>
            <pc:sldMk cId="838106306" sldId="960"/>
            <ac:spMk id="8" creationId="{6DD7A3FB-7946-43C8-ABA6-B115857FC9BC}"/>
          </ac:spMkLst>
        </pc:spChg>
      </pc:sldChg>
      <pc:sldChg chg="del">
        <pc:chgData name="Müller, Kurt (SI BP S TSS TR)" userId="e7e82c7e-80c6-42a5-ab71-24588885b7fe" providerId="ADAL" clId="{32F858BE-4F85-41AF-A90D-0B6DEF247AE5}" dt="2021-07-30T12:03:35.495" v="0" actId="47"/>
        <pc:sldMkLst>
          <pc:docMk/>
          <pc:sldMk cId="1094743058" sldId="961"/>
        </pc:sldMkLst>
      </pc:sldChg>
      <pc:sldChg chg="mod modShow">
        <pc:chgData name="Müller, Kurt (SI BP S TSS TR)" userId="e7e82c7e-80c6-42a5-ab71-24588885b7fe" providerId="ADAL" clId="{32F858BE-4F85-41AF-A90D-0B6DEF247AE5}" dt="2021-07-30T12:37:46.899" v="254" actId="729"/>
        <pc:sldMkLst>
          <pc:docMk/>
          <pc:sldMk cId="4149258645" sldId="962"/>
        </pc:sldMkLst>
      </pc:sldChg>
      <pc:sldChg chg="del">
        <pc:chgData name="Müller, Kurt (SI BP S TSS TR)" userId="e7e82c7e-80c6-42a5-ab71-24588885b7fe" providerId="ADAL" clId="{32F858BE-4F85-41AF-A90D-0B6DEF247AE5}" dt="2021-07-30T12:44:34.480" v="267" actId="47"/>
        <pc:sldMkLst>
          <pc:docMk/>
          <pc:sldMk cId="1044414276" sldId="963"/>
        </pc:sldMkLst>
      </pc:sldChg>
      <pc:sldChg chg="del">
        <pc:chgData name="Müller, Kurt (SI BP S TSS TR)" userId="e7e82c7e-80c6-42a5-ab71-24588885b7fe" providerId="ADAL" clId="{32F858BE-4F85-41AF-A90D-0B6DEF247AE5}" dt="2021-07-30T12:44:34.480" v="267" actId="47"/>
        <pc:sldMkLst>
          <pc:docMk/>
          <pc:sldMk cId="3768639539" sldId="966"/>
        </pc:sldMkLst>
      </pc:sldChg>
      <pc:sldChg chg="del">
        <pc:chgData name="Müller, Kurt (SI BP S TSS TR)" userId="e7e82c7e-80c6-42a5-ab71-24588885b7fe" providerId="ADAL" clId="{32F858BE-4F85-41AF-A90D-0B6DEF247AE5}" dt="2021-07-30T12:03:35.495" v="0" actId="47"/>
        <pc:sldMkLst>
          <pc:docMk/>
          <pc:sldMk cId="3635193786" sldId="967"/>
        </pc:sldMkLst>
      </pc:sldChg>
      <pc:sldChg chg="del">
        <pc:chgData name="Müller, Kurt (SI BP S TSS TR)" userId="e7e82c7e-80c6-42a5-ab71-24588885b7fe" providerId="ADAL" clId="{32F858BE-4F85-41AF-A90D-0B6DEF247AE5}" dt="2021-07-30T12:03:35.495" v="0" actId="47"/>
        <pc:sldMkLst>
          <pc:docMk/>
          <pc:sldMk cId="324226510" sldId="968"/>
        </pc:sldMkLst>
      </pc:sldChg>
      <pc:sldChg chg="del">
        <pc:chgData name="Müller, Kurt (SI BP S TSS TR)" userId="e7e82c7e-80c6-42a5-ab71-24588885b7fe" providerId="ADAL" clId="{32F858BE-4F85-41AF-A90D-0B6DEF247AE5}" dt="2021-07-30T12:03:35.495" v="0" actId="47"/>
        <pc:sldMkLst>
          <pc:docMk/>
          <pc:sldMk cId="4268296303" sldId="969"/>
        </pc:sldMkLst>
      </pc:sldChg>
      <pc:sldChg chg="del">
        <pc:chgData name="Müller, Kurt (SI BP S TSS TR)" userId="e7e82c7e-80c6-42a5-ab71-24588885b7fe" providerId="ADAL" clId="{32F858BE-4F85-41AF-A90D-0B6DEF247AE5}" dt="2021-07-30T12:03:35.495" v="0" actId="47"/>
        <pc:sldMkLst>
          <pc:docMk/>
          <pc:sldMk cId="1275340611" sldId="970"/>
        </pc:sldMkLst>
      </pc:sldChg>
      <pc:sldChg chg="del">
        <pc:chgData name="Müller, Kurt (SI BP S TSS TR)" userId="e7e82c7e-80c6-42a5-ab71-24588885b7fe" providerId="ADAL" clId="{32F858BE-4F85-41AF-A90D-0B6DEF247AE5}" dt="2021-07-30T12:03:35.495" v="0" actId="47"/>
        <pc:sldMkLst>
          <pc:docMk/>
          <pc:sldMk cId="2884536962" sldId="971"/>
        </pc:sldMkLst>
      </pc:sldChg>
      <pc:sldChg chg="del">
        <pc:chgData name="Müller, Kurt (SI BP S TSS TR)" userId="e7e82c7e-80c6-42a5-ab71-24588885b7fe" providerId="ADAL" clId="{32F858BE-4F85-41AF-A90D-0B6DEF247AE5}" dt="2021-07-30T12:03:35.495" v="0" actId="47"/>
        <pc:sldMkLst>
          <pc:docMk/>
          <pc:sldMk cId="2408277208" sldId="972"/>
        </pc:sldMkLst>
      </pc:sldChg>
      <pc:sldChg chg="del">
        <pc:chgData name="Müller, Kurt (SI BP S TSS TR)" userId="e7e82c7e-80c6-42a5-ab71-24588885b7fe" providerId="ADAL" clId="{32F858BE-4F85-41AF-A90D-0B6DEF247AE5}" dt="2021-07-30T12:03:35.495" v="0" actId="47"/>
        <pc:sldMkLst>
          <pc:docMk/>
          <pc:sldMk cId="2852314789" sldId="973"/>
        </pc:sldMkLst>
      </pc:sldChg>
      <pc:sldChg chg="del">
        <pc:chgData name="Müller, Kurt (SI BP S TSS TR)" userId="e7e82c7e-80c6-42a5-ab71-24588885b7fe" providerId="ADAL" clId="{32F858BE-4F85-41AF-A90D-0B6DEF247AE5}" dt="2021-07-30T12:03:35.495" v="0" actId="47"/>
        <pc:sldMkLst>
          <pc:docMk/>
          <pc:sldMk cId="4198579175" sldId="1017"/>
        </pc:sldMkLst>
      </pc:sldChg>
      <pc:sldChg chg="del">
        <pc:chgData name="Müller, Kurt (SI BP S TSS TR)" userId="e7e82c7e-80c6-42a5-ab71-24588885b7fe" providerId="ADAL" clId="{32F858BE-4F85-41AF-A90D-0B6DEF247AE5}" dt="2021-07-30T12:03:35.495" v="0" actId="47"/>
        <pc:sldMkLst>
          <pc:docMk/>
          <pc:sldMk cId="1721004004" sldId="1027"/>
        </pc:sldMkLst>
      </pc:sldChg>
      <pc:sldChg chg="del">
        <pc:chgData name="Müller, Kurt (SI BP S TSS TR)" userId="e7e82c7e-80c6-42a5-ab71-24588885b7fe" providerId="ADAL" clId="{32F858BE-4F85-41AF-A90D-0B6DEF247AE5}" dt="2021-07-30T12:06:28.581" v="1" actId="47"/>
        <pc:sldMkLst>
          <pc:docMk/>
          <pc:sldMk cId="2593355085" sldId="2376"/>
        </pc:sldMkLst>
      </pc:sldChg>
      <pc:sldChg chg="del">
        <pc:chgData name="Müller, Kurt (SI BP S TSS TR)" userId="e7e82c7e-80c6-42a5-ab71-24588885b7fe" providerId="ADAL" clId="{32F858BE-4F85-41AF-A90D-0B6DEF247AE5}" dt="2021-07-30T12:03:35.495" v="0" actId="47"/>
        <pc:sldMkLst>
          <pc:docMk/>
          <pc:sldMk cId="627141999" sldId="2389"/>
        </pc:sldMkLst>
      </pc:sldChg>
      <pc:sldChg chg="del">
        <pc:chgData name="Müller, Kurt (SI BP S TSS TR)" userId="e7e82c7e-80c6-42a5-ab71-24588885b7fe" providerId="ADAL" clId="{32F858BE-4F85-41AF-A90D-0B6DEF247AE5}" dt="2021-07-30T12:44:34.480" v="267" actId="47"/>
        <pc:sldMkLst>
          <pc:docMk/>
          <pc:sldMk cId="4077194298" sldId="2396"/>
        </pc:sldMkLst>
      </pc:sldChg>
      <pc:sldChg chg="del">
        <pc:chgData name="Müller, Kurt (SI BP S TSS TR)" userId="e7e82c7e-80c6-42a5-ab71-24588885b7fe" providerId="ADAL" clId="{32F858BE-4F85-41AF-A90D-0B6DEF247AE5}" dt="2021-07-30T12:03:35.495" v="0" actId="47"/>
        <pc:sldMkLst>
          <pc:docMk/>
          <pc:sldMk cId="62519991" sldId="2397"/>
        </pc:sldMkLst>
      </pc:sldChg>
      <pc:sldChg chg="del">
        <pc:chgData name="Müller, Kurt (SI BP S TSS TR)" userId="e7e82c7e-80c6-42a5-ab71-24588885b7fe" providerId="ADAL" clId="{32F858BE-4F85-41AF-A90D-0B6DEF247AE5}" dt="2021-07-30T12:03:35.495" v="0" actId="47"/>
        <pc:sldMkLst>
          <pc:docMk/>
          <pc:sldMk cId="3131744600" sldId="2401"/>
        </pc:sldMkLst>
      </pc:sldChg>
      <pc:sldChg chg="del">
        <pc:chgData name="Müller, Kurt (SI BP S TSS TR)" userId="e7e82c7e-80c6-42a5-ab71-24588885b7fe" providerId="ADAL" clId="{32F858BE-4F85-41AF-A90D-0B6DEF247AE5}" dt="2021-07-30T12:03:35.495" v="0" actId="47"/>
        <pc:sldMkLst>
          <pc:docMk/>
          <pc:sldMk cId="2638777451" sldId="2409"/>
        </pc:sldMkLst>
      </pc:sldChg>
      <pc:sldChg chg="del">
        <pc:chgData name="Müller, Kurt (SI BP S TSS TR)" userId="e7e82c7e-80c6-42a5-ab71-24588885b7fe" providerId="ADAL" clId="{32F858BE-4F85-41AF-A90D-0B6DEF247AE5}" dt="2021-07-30T12:03:35.495" v="0" actId="47"/>
        <pc:sldMkLst>
          <pc:docMk/>
          <pc:sldMk cId="3111055162" sldId="2410"/>
        </pc:sldMkLst>
      </pc:sldChg>
      <pc:sldChg chg="del">
        <pc:chgData name="Müller, Kurt (SI BP S TSS TR)" userId="e7e82c7e-80c6-42a5-ab71-24588885b7fe" providerId="ADAL" clId="{32F858BE-4F85-41AF-A90D-0B6DEF247AE5}" dt="2021-07-30T12:03:35.495" v="0" actId="47"/>
        <pc:sldMkLst>
          <pc:docMk/>
          <pc:sldMk cId="525226253" sldId="2413"/>
        </pc:sldMkLst>
      </pc:sldChg>
      <pc:sldChg chg="del">
        <pc:chgData name="Müller, Kurt (SI BP S TSS TR)" userId="e7e82c7e-80c6-42a5-ab71-24588885b7fe" providerId="ADAL" clId="{32F858BE-4F85-41AF-A90D-0B6DEF247AE5}" dt="2021-07-30T12:03:35.495" v="0" actId="47"/>
        <pc:sldMkLst>
          <pc:docMk/>
          <pc:sldMk cId="1217175717" sldId="2415"/>
        </pc:sldMkLst>
      </pc:sldChg>
      <pc:sldChg chg="del">
        <pc:chgData name="Müller, Kurt (SI BP S TSS TR)" userId="e7e82c7e-80c6-42a5-ab71-24588885b7fe" providerId="ADAL" clId="{32F858BE-4F85-41AF-A90D-0B6DEF247AE5}" dt="2021-07-30T12:03:35.495" v="0" actId="47"/>
        <pc:sldMkLst>
          <pc:docMk/>
          <pc:sldMk cId="438231851" sldId="2416"/>
        </pc:sldMkLst>
      </pc:sldChg>
      <pc:sldChg chg="del">
        <pc:chgData name="Müller, Kurt (SI BP S TSS TR)" userId="e7e82c7e-80c6-42a5-ab71-24588885b7fe" providerId="ADAL" clId="{32F858BE-4F85-41AF-A90D-0B6DEF247AE5}" dt="2021-07-30T12:03:35.495" v="0" actId="47"/>
        <pc:sldMkLst>
          <pc:docMk/>
          <pc:sldMk cId="2615247344" sldId="2417"/>
        </pc:sldMkLst>
      </pc:sldChg>
      <pc:sldChg chg="del">
        <pc:chgData name="Müller, Kurt (SI BP S TSS TR)" userId="e7e82c7e-80c6-42a5-ab71-24588885b7fe" providerId="ADAL" clId="{32F858BE-4F85-41AF-A90D-0B6DEF247AE5}" dt="2021-07-30T12:44:34.480" v="267" actId="47"/>
        <pc:sldMkLst>
          <pc:docMk/>
          <pc:sldMk cId="694935932" sldId="2420"/>
        </pc:sldMkLst>
      </pc:sldChg>
      <pc:sldChg chg="del">
        <pc:chgData name="Müller, Kurt (SI BP S TSS TR)" userId="e7e82c7e-80c6-42a5-ab71-24588885b7fe" providerId="ADAL" clId="{32F858BE-4F85-41AF-A90D-0B6DEF247AE5}" dt="2021-07-30T12:03:35.495" v="0" actId="47"/>
        <pc:sldMkLst>
          <pc:docMk/>
          <pc:sldMk cId="318514043" sldId="2422"/>
        </pc:sldMkLst>
      </pc:sldChg>
      <pc:sldChg chg="del">
        <pc:chgData name="Müller, Kurt (SI BP S TSS TR)" userId="e7e82c7e-80c6-42a5-ab71-24588885b7fe" providerId="ADAL" clId="{32F858BE-4F85-41AF-A90D-0B6DEF247AE5}" dt="2021-07-30T12:03:35.495" v="0" actId="47"/>
        <pc:sldMkLst>
          <pc:docMk/>
          <pc:sldMk cId="3671773301" sldId="2423"/>
        </pc:sldMkLst>
      </pc:sldChg>
      <pc:sldChg chg="del">
        <pc:chgData name="Müller, Kurt (SI BP S TSS TR)" userId="e7e82c7e-80c6-42a5-ab71-24588885b7fe" providerId="ADAL" clId="{32F858BE-4F85-41AF-A90D-0B6DEF247AE5}" dt="2021-07-30T12:03:35.495" v="0" actId="47"/>
        <pc:sldMkLst>
          <pc:docMk/>
          <pc:sldMk cId="802286998" sldId="2424"/>
        </pc:sldMkLst>
      </pc:sldChg>
      <pc:sldChg chg="del">
        <pc:chgData name="Müller, Kurt (SI BP S TSS TR)" userId="e7e82c7e-80c6-42a5-ab71-24588885b7fe" providerId="ADAL" clId="{32F858BE-4F85-41AF-A90D-0B6DEF247AE5}" dt="2021-07-30T12:03:35.495" v="0" actId="47"/>
        <pc:sldMkLst>
          <pc:docMk/>
          <pc:sldMk cId="4052440105" sldId="2429"/>
        </pc:sldMkLst>
      </pc:sldChg>
      <pc:sldChg chg="del">
        <pc:chgData name="Müller, Kurt (SI BP S TSS TR)" userId="e7e82c7e-80c6-42a5-ab71-24588885b7fe" providerId="ADAL" clId="{32F858BE-4F85-41AF-A90D-0B6DEF247AE5}" dt="2021-07-30T12:03:35.495" v="0" actId="47"/>
        <pc:sldMkLst>
          <pc:docMk/>
          <pc:sldMk cId="3920165038" sldId="2431"/>
        </pc:sldMkLst>
      </pc:sldChg>
      <pc:sldChg chg="del">
        <pc:chgData name="Müller, Kurt (SI BP S TSS TR)" userId="e7e82c7e-80c6-42a5-ab71-24588885b7fe" providerId="ADAL" clId="{32F858BE-4F85-41AF-A90D-0B6DEF247AE5}" dt="2021-07-30T12:03:35.495" v="0" actId="47"/>
        <pc:sldMkLst>
          <pc:docMk/>
          <pc:sldMk cId="1004559465" sldId="2432"/>
        </pc:sldMkLst>
      </pc:sldChg>
      <pc:sldChg chg="del">
        <pc:chgData name="Müller, Kurt (SI BP S TSS TR)" userId="e7e82c7e-80c6-42a5-ab71-24588885b7fe" providerId="ADAL" clId="{32F858BE-4F85-41AF-A90D-0B6DEF247AE5}" dt="2021-07-30T12:03:35.495" v="0" actId="47"/>
        <pc:sldMkLst>
          <pc:docMk/>
          <pc:sldMk cId="151343718" sldId="2433"/>
        </pc:sldMkLst>
      </pc:sldChg>
      <pc:sldChg chg="del">
        <pc:chgData name="Müller, Kurt (SI BP S TSS TR)" userId="e7e82c7e-80c6-42a5-ab71-24588885b7fe" providerId="ADAL" clId="{32F858BE-4F85-41AF-A90D-0B6DEF247AE5}" dt="2021-07-30T12:03:35.495" v="0" actId="47"/>
        <pc:sldMkLst>
          <pc:docMk/>
          <pc:sldMk cId="1623929652" sldId="2434"/>
        </pc:sldMkLst>
      </pc:sldChg>
      <pc:sldChg chg="del">
        <pc:chgData name="Müller, Kurt (SI BP S TSS TR)" userId="e7e82c7e-80c6-42a5-ab71-24588885b7fe" providerId="ADAL" clId="{32F858BE-4F85-41AF-A90D-0B6DEF247AE5}" dt="2021-07-30T12:03:35.495" v="0" actId="47"/>
        <pc:sldMkLst>
          <pc:docMk/>
          <pc:sldMk cId="2020720954" sldId="2437"/>
        </pc:sldMkLst>
      </pc:sldChg>
      <pc:sldChg chg="del">
        <pc:chgData name="Müller, Kurt (SI BP S TSS TR)" userId="e7e82c7e-80c6-42a5-ab71-24588885b7fe" providerId="ADAL" clId="{32F858BE-4F85-41AF-A90D-0B6DEF247AE5}" dt="2021-07-30T12:03:35.495" v="0" actId="47"/>
        <pc:sldMkLst>
          <pc:docMk/>
          <pc:sldMk cId="3007351699" sldId="2438"/>
        </pc:sldMkLst>
      </pc:sldChg>
      <pc:sldChg chg="del">
        <pc:chgData name="Müller, Kurt (SI BP S TSS TR)" userId="e7e82c7e-80c6-42a5-ab71-24588885b7fe" providerId="ADAL" clId="{32F858BE-4F85-41AF-A90D-0B6DEF247AE5}" dt="2021-07-30T12:03:35.495" v="0" actId="47"/>
        <pc:sldMkLst>
          <pc:docMk/>
          <pc:sldMk cId="3063489011" sldId="2439"/>
        </pc:sldMkLst>
      </pc:sldChg>
      <pc:sldChg chg="del">
        <pc:chgData name="Müller, Kurt (SI BP S TSS TR)" userId="e7e82c7e-80c6-42a5-ab71-24588885b7fe" providerId="ADAL" clId="{32F858BE-4F85-41AF-A90D-0B6DEF247AE5}" dt="2021-07-30T12:03:35.495" v="0" actId="47"/>
        <pc:sldMkLst>
          <pc:docMk/>
          <pc:sldMk cId="2857005650" sldId="2450"/>
        </pc:sldMkLst>
      </pc:sldChg>
      <pc:sldChg chg="del">
        <pc:chgData name="Müller, Kurt (SI BP S TSS TR)" userId="e7e82c7e-80c6-42a5-ab71-24588885b7fe" providerId="ADAL" clId="{32F858BE-4F85-41AF-A90D-0B6DEF247AE5}" dt="2021-07-30T12:03:35.495" v="0" actId="47"/>
        <pc:sldMkLst>
          <pc:docMk/>
          <pc:sldMk cId="36792237" sldId="2451"/>
        </pc:sldMkLst>
      </pc:sldChg>
      <pc:sldChg chg="del">
        <pc:chgData name="Müller, Kurt (SI BP S TSS TR)" userId="e7e82c7e-80c6-42a5-ab71-24588885b7fe" providerId="ADAL" clId="{32F858BE-4F85-41AF-A90D-0B6DEF247AE5}" dt="2021-07-30T12:44:34.480" v="267" actId="47"/>
        <pc:sldMkLst>
          <pc:docMk/>
          <pc:sldMk cId="1640971921" sldId="2454"/>
        </pc:sldMkLst>
      </pc:sldChg>
      <pc:sldChg chg="del">
        <pc:chgData name="Müller, Kurt (SI BP S TSS TR)" userId="e7e82c7e-80c6-42a5-ab71-24588885b7fe" providerId="ADAL" clId="{32F858BE-4F85-41AF-A90D-0B6DEF247AE5}" dt="2021-07-30T12:44:34.480" v="267" actId="47"/>
        <pc:sldMkLst>
          <pc:docMk/>
          <pc:sldMk cId="1504632259" sldId="2455"/>
        </pc:sldMkLst>
      </pc:sldChg>
      <pc:sldChg chg="del">
        <pc:chgData name="Müller, Kurt (SI BP S TSS TR)" userId="e7e82c7e-80c6-42a5-ab71-24588885b7fe" providerId="ADAL" clId="{32F858BE-4F85-41AF-A90D-0B6DEF247AE5}" dt="2021-07-30T12:03:35.495" v="0" actId="47"/>
        <pc:sldMkLst>
          <pc:docMk/>
          <pc:sldMk cId="703990873" sldId="2456"/>
        </pc:sldMkLst>
      </pc:sldChg>
      <pc:sldChg chg="del">
        <pc:chgData name="Müller, Kurt (SI BP S TSS TR)" userId="e7e82c7e-80c6-42a5-ab71-24588885b7fe" providerId="ADAL" clId="{32F858BE-4F85-41AF-A90D-0B6DEF247AE5}" dt="2021-07-30T12:44:34.480" v="267" actId="47"/>
        <pc:sldMkLst>
          <pc:docMk/>
          <pc:sldMk cId="4145599229" sldId="2458"/>
        </pc:sldMkLst>
      </pc:sldChg>
      <pc:sldChg chg="del">
        <pc:chgData name="Müller, Kurt (SI BP S TSS TR)" userId="e7e82c7e-80c6-42a5-ab71-24588885b7fe" providerId="ADAL" clId="{32F858BE-4F85-41AF-A90D-0B6DEF247AE5}" dt="2021-07-30T12:03:35.495" v="0" actId="47"/>
        <pc:sldMkLst>
          <pc:docMk/>
          <pc:sldMk cId="883980063" sldId="2459"/>
        </pc:sldMkLst>
      </pc:sldChg>
      <pc:sldChg chg="del">
        <pc:chgData name="Müller, Kurt (SI BP S TSS TR)" userId="e7e82c7e-80c6-42a5-ab71-24588885b7fe" providerId="ADAL" clId="{32F858BE-4F85-41AF-A90D-0B6DEF247AE5}" dt="2021-07-30T12:03:35.495" v="0" actId="47"/>
        <pc:sldMkLst>
          <pc:docMk/>
          <pc:sldMk cId="2771778418" sldId="2461"/>
        </pc:sldMkLst>
      </pc:sldChg>
      <pc:sldChg chg="del">
        <pc:chgData name="Müller, Kurt (SI BP S TSS TR)" userId="e7e82c7e-80c6-42a5-ab71-24588885b7fe" providerId="ADAL" clId="{32F858BE-4F85-41AF-A90D-0B6DEF247AE5}" dt="2021-07-30T12:03:35.495" v="0" actId="47"/>
        <pc:sldMkLst>
          <pc:docMk/>
          <pc:sldMk cId="3980052550" sldId="2463"/>
        </pc:sldMkLst>
      </pc:sldChg>
      <pc:sldChg chg="addSp modSp mod ord">
        <pc:chgData name="Müller, Kurt (SI BP S TSS TR)" userId="e7e82c7e-80c6-42a5-ab71-24588885b7fe" providerId="ADAL" clId="{32F858BE-4F85-41AF-A90D-0B6DEF247AE5}" dt="2021-07-30T12:29:05.197" v="207" actId="20577"/>
        <pc:sldMkLst>
          <pc:docMk/>
          <pc:sldMk cId="0" sldId="2464"/>
        </pc:sldMkLst>
        <pc:spChg chg="add mod">
          <ac:chgData name="Müller, Kurt (SI BP S TSS TR)" userId="e7e82c7e-80c6-42a5-ab71-24588885b7fe" providerId="ADAL" clId="{32F858BE-4F85-41AF-A90D-0B6DEF247AE5}" dt="2021-07-30T12:29:05.197" v="207" actId="20577"/>
          <ac:spMkLst>
            <pc:docMk/>
            <pc:sldMk cId="0" sldId="2464"/>
            <ac:spMk id="11" creationId="{5E5C2573-D289-42BA-8D43-81EC4D5F358D}"/>
          </ac:spMkLst>
        </pc:spChg>
      </pc:sldChg>
      <pc:sldChg chg="addSp modSp mod ord modShow">
        <pc:chgData name="Müller, Kurt (SI BP S TSS TR)" userId="e7e82c7e-80c6-42a5-ab71-24588885b7fe" providerId="ADAL" clId="{32F858BE-4F85-41AF-A90D-0B6DEF247AE5}" dt="2021-07-30T12:17:27.395" v="119" actId="20577"/>
        <pc:sldMkLst>
          <pc:docMk/>
          <pc:sldMk cId="0" sldId="2465"/>
        </pc:sldMkLst>
        <pc:spChg chg="add mod">
          <ac:chgData name="Müller, Kurt (SI BP S TSS TR)" userId="e7e82c7e-80c6-42a5-ab71-24588885b7fe" providerId="ADAL" clId="{32F858BE-4F85-41AF-A90D-0B6DEF247AE5}" dt="2021-07-30T12:17:27.395" v="119" actId="20577"/>
          <ac:spMkLst>
            <pc:docMk/>
            <pc:sldMk cId="0" sldId="2465"/>
            <ac:spMk id="14" creationId="{DCB33C9E-D50D-44CA-953E-FCEB7A662FEB}"/>
          </ac:spMkLst>
        </pc:spChg>
      </pc:sldChg>
      <pc:sldChg chg="mod modShow">
        <pc:chgData name="Müller, Kurt (SI BP S TSS TR)" userId="e7e82c7e-80c6-42a5-ab71-24588885b7fe" providerId="ADAL" clId="{32F858BE-4F85-41AF-A90D-0B6DEF247AE5}" dt="2021-07-30T12:17:51.893" v="120" actId="729"/>
        <pc:sldMkLst>
          <pc:docMk/>
          <pc:sldMk cId="0" sldId="2466"/>
        </pc:sldMkLst>
      </pc:sldChg>
      <pc:sldChg chg="ord">
        <pc:chgData name="Müller, Kurt (SI BP S TSS TR)" userId="e7e82c7e-80c6-42a5-ab71-24588885b7fe" providerId="ADAL" clId="{32F858BE-4F85-41AF-A90D-0B6DEF247AE5}" dt="2021-07-30T12:18:38.961" v="127"/>
        <pc:sldMkLst>
          <pc:docMk/>
          <pc:sldMk cId="0" sldId="2467"/>
        </pc:sldMkLst>
      </pc:sldChg>
      <pc:sldChg chg="mod modShow">
        <pc:chgData name="Müller, Kurt (SI BP S TSS TR)" userId="e7e82c7e-80c6-42a5-ab71-24588885b7fe" providerId="ADAL" clId="{32F858BE-4F85-41AF-A90D-0B6DEF247AE5}" dt="2021-07-30T12:19:44.383" v="128" actId="729"/>
        <pc:sldMkLst>
          <pc:docMk/>
          <pc:sldMk cId="0" sldId="2468"/>
        </pc:sldMkLst>
      </pc:sldChg>
      <pc:sldChg chg="modSp mod modShow">
        <pc:chgData name="Müller, Kurt (SI BP S TSS TR)" userId="e7e82c7e-80c6-42a5-ab71-24588885b7fe" providerId="ADAL" clId="{32F858BE-4F85-41AF-A90D-0B6DEF247AE5}" dt="2021-07-30T12:52:00.494" v="269" actId="1076"/>
        <pc:sldMkLst>
          <pc:docMk/>
          <pc:sldMk cId="0" sldId="2469"/>
        </pc:sldMkLst>
        <pc:spChg chg="mod">
          <ac:chgData name="Müller, Kurt (SI BP S TSS TR)" userId="e7e82c7e-80c6-42a5-ab71-24588885b7fe" providerId="ADAL" clId="{32F858BE-4F85-41AF-A90D-0B6DEF247AE5}" dt="2021-07-30T12:52:00.494" v="269" actId="1076"/>
          <ac:spMkLst>
            <pc:docMk/>
            <pc:sldMk cId="0" sldId="2469"/>
            <ac:spMk id="11275" creationId="{F9F4F982-0727-45BC-9AFC-254000729C3B}"/>
          </ac:spMkLst>
        </pc:spChg>
        <pc:spChg chg="mod">
          <ac:chgData name="Müller, Kurt (SI BP S TSS TR)" userId="e7e82c7e-80c6-42a5-ab71-24588885b7fe" providerId="ADAL" clId="{32F858BE-4F85-41AF-A90D-0B6DEF247AE5}" dt="2021-07-30T12:52:00.494" v="269" actId="1076"/>
          <ac:spMkLst>
            <pc:docMk/>
            <pc:sldMk cId="0" sldId="2469"/>
            <ac:spMk id="11276" creationId="{46EFFC8D-3C99-4852-8F4E-3995719AD1C5}"/>
          </ac:spMkLst>
        </pc:spChg>
        <pc:grpChg chg="mod">
          <ac:chgData name="Müller, Kurt (SI BP S TSS TR)" userId="e7e82c7e-80c6-42a5-ab71-24588885b7fe" providerId="ADAL" clId="{32F858BE-4F85-41AF-A90D-0B6DEF247AE5}" dt="2021-07-30T12:52:00.494" v="269" actId="1076"/>
          <ac:grpSpMkLst>
            <pc:docMk/>
            <pc:sldMk cId="0" sldId="2469"/>
            <ac:grpSpMk id="11270" creationId="{0ACBB262-1DD2-4FC2-873B-2B32B0142F72}"/>
          </ac:grpSpMkLst>
        </pc:grpChg>
        <pc:grpChg chg="mod">
          <ac:chgData name="Müller, Kurt (SI BP S TSS TR)" userId="e7e82c7e-80c6-42a5-ab71-24588885b7fe" providerId="ADAL" clId="{32F858BE-4F85-41AF-A90D-0B6DEF247AE5}" dt="2021-07-30T12:52:00.494" v="269" actId="1076"/>
          <ac:grpSpMkLst>
            <pc:docMk/>
            <pc:sldMk cId="0" sldId="2469"/>
            <ac:grpSpMk id="11272" creationId="{9A70CD16-1B7D-4553-9826-2659CDA2FA09}"/>
          </ac:grpSpMkLst>
        </pc:grpChg>
        <pc:grpChg chg="mod">
          <ac:chgData name="Müller, Kurt (SI BP S TSS TR)" userId="e7e82c7e-80c6-42a5-ab71-24588885b7fe" providerId="ADAL" clId="{32F858BE-4F85-41AF-A90D-0B6DEF247AE5}" dt="2021-07-30T12:52:00.494" v="269" actId="1076"/>
          <ac:grpSpMkLst>
            <pc:docMk/>
            <pc:sldMk cId="0" sldId="2469"/>
            <ac:grpSpMk id="11273" creationId="{59349C1F-3306-4AA3-810D-8651CA28989D}"/>
          </ac:grpSpMkLst>
        </pc:grpChg>
        <pc:picChg chg="mod">
          <ac:chgData name="Müller, Kurt (SI BP S TSS TR)" userId="e7e82c7e-80c6-42a5-ab71-24588885b7fe" providerId="ADAL" clId="{32F858BE-4F85-41AF-A90D-0B6DEF247AE5}" dt="2021-07-30T12:52:00.494" v="269" actId="1076"/>
          <ac:picMkLst>
            <pc:docMk/>
            <pc:sldMk cId="0" sldId="2469"/>
            <ac:picMk id="11277" creationId="{FB9924C3-5CD6-4F15-A2D7-B2ECEBF771C7}"/>
          </ac:picMkLst>
        </pc:picChg>
        <pc:cxnChg chg="mod">
          <ac:chgData name="Müller, Kurt (SI BP S TSS TR)" userId="e7e82c7e-80c6-42a5-ab71-24588885b7fe" providerId="ADAL" clId="{32F858BE-4F85-41AF-A90D-0B6DEF247AE5}" dt="2021-07-30T12:52:00.494" v="269" actId="1076"/>
          <ac:cxnSpMkLst>
            <pc:docMk/>
            <pc:sldMk cId="0" sldId="2469"/>
            <ac:cxnSpMk id="11274" creationId="{4627261E-1480-4002-BE69-CC1C9385BCD7}"/>
          </ac:cxnSpMkLst>
        </pc:cxnChg>
        <pc:cxnChg chg="mod">
          <ac:chgData name="Müller, Kurt (SI BP S TSS TR)" userId="e7e82c7e-80c6-42a5-ab71-24588885b7fe" providerId="ADAL" clId="{32F858BE-4F85-41AF-A90D-0B6DEF247AE5}" dt="2021-07-30T12:52:00.494" v="269" actId="1076"/>
          <ac:cxnSpMkLst>
            <pc:docMk/>
            <pc:sldMk cId="0" sldId="2469"/>
            <ac:cxnSpMk id="11278" creationId="{0BE54484-D9F4-4072-BBDC-7365CD18F38A}"/>
          </ac:cxnSpMkLst>
        </pc:cxnChg>
        <pc:cxnChg chg="mod">
          <ac:chgData name="Müller, Kurt (SI BP S TSS TR)" userId="e7e82c7e-80c6-42a5-ab71-24588885b7fe" providerId="ADAL" clId="{32F858BE-4F85-41AF-A90D-0B6DEF247AE5}" dt="2021-07-30T12:52:00.494" v="269" actId="1076"/>
          <ac:cxnSpMkLst>
            <pc:docMk/>
            <pc:sldMk cId="0" sldId="2469"/>
            <ac:cxnSpMk id="11279" creationId="{F418FE55-14E2-47B5-B167-6DC0548547A0}"/>
          </ac:cxnSpMkLst>
        </pc:cxnChg>
      </pc:sldChg>
      <pc:sldChg chg="mod modShow">
        <pc:chgData name="Müller, Kurt (SI BP S TSS TR)" userId="e7e82c7e-80c6-42a5-ab71-24588885b7fe" providerId="ADAL" clId="{32F858BE-4F85-41AF-A90D-0B6DEF247AE5}" dt="2021-07-30T12:24:41.734" v="192" actId="729"/>
        <pc:sldMkLst>
          <pc:docMk/>
          <pc:sldMk cId="0" sldId="2470"/>
        </pc:sldMkLst>
      </pc:sldChg>
      <pc:sldChg chg="mod modShow">
        <pc:chgData name="Müller, Kurt (SI BP S TSS TR)" userId="e7e82c7e-80c6-42a5-ab71-24588885b7fe" providerId="ADAL" clId="{32F858BE-4F85-41AF-A90D-0B6DEF247AE5}" dt="2021-07-30T12:24:50.609" v="193" actId="729"/>
        <pc:sldMkLst>
          <pc:docMk/>
          <pc:sldMk cId="0" sldId="2471"/>
        </pc:sldMkLst>
      </pc:sldChg>
      <pc:sldChg chg="mod modShow">
        <pc:chgData name="Müller, Kurt (SI BP S TSS TR)" userId="e7e82c7e-80c6-42a5-ab71-24588885b7fe" providerId="ADAL" clId="{32F858BE-4F85-41AF-A90D-0B6DEF247AE5}" dt="2021-07-30T12:24:54.116" v="194" actId="729"/>
        <pc:sldMkLst>
          <pc:docMk/>
          <pc:sldMk cId="0" sldId="2472"/>
        </pc:sldMkLst>
      </pc:sldChg>
      <pc:sldChg chg="mod modShow">
        <pc:chgData name="Müller, Kurt (SI BP S TSS TR)" userId="e7e82c7e-80c6-42a5-ab71-24588885b7fe" providerId="ADAL" clId="{32F858BE-4F85-41AF-A90D-0B6DEF247AE5}" dt="2021-07-30T12:24:59.562" v="195" actId="729"/>
        <pc:sldMkLst>
          <pc:docMk/>
          <pc:sldMk cId="0" sldId="2473"/>
        </pc:sldMkLst>
      </pc:sldChg>
      <pc:sldChg chg="mod modShow">
        <pc:chgData name="Müller, Kurt (SI BP S TSS TR)" userId="e7e82c7e-80c6-42a5-ab71-24588885b7fe" providerId="ADAL" clId="{32F858BE-4F85-41AF-A90D-0B6DEF247AE5}" dt="2021-07-30T12:25:09.705" v="196" actId="729"/>
        <pc:sldMkLst>
          <pc:docMk/>
          <pc:sldMk cId="0" sldId="2474"/>
        </pc:sldMkLst>
      </pc:sldChg>
      <pc:sldChg chg="del">
        <pc:chgData name="Müller, Kurt (SI BP S TSS TR)" userId="e7e82c7e-80c6-42a5-ab71-24588885b7fe" providerId="ADAL" clId="{32F858BE-4F85-41AF-A90D-0B6DEF247AE5}" dt="2021-07-30T12:28:47.978" v="205" actId="2696"/>
        <pc:sldMkLst>
          <pc:docMk/>
          <pc:sldMk cId="1146210905" sldId="2475"/>
        </pc:sldMkLst>
      </pc:sldChg>
      <pc:sldChg chg="addSp modSp add mod">
        <pc:chgData name="Müller, Kurt (SI BP S TSS TR)" userId="e7e82c7e-80c6-42a5-ab71-24588885b7fe" providerId="ADAL" clId="{32F858BE-4F85-41AF-A90D-0B6DEF247AE5}" dt="2021-07-30T12:29:30.516" v="229" actId="1076"/>
        <pc:sldMkLst>
          <pc:docMk/>
          <pc:sldMk cId="2414038128" sldId="2475"/>
        </pc:sldMkLst>
        <pc:spChg chg="add mod">
          <ac:chgData name="Müller, Kurt (SI BP S TSS TR)" userId="e7e82c7e-80c6-42a5-ab71-24588885b7fe" providerId="ADAL" clId="{32F858BE-4F85-41AF-A90D-0B6DEF247AE5}" dt="2021-07-30T12:29:21.003" v="228" actId="20577"/>
          <ac:spMkLst>
            <pc:docMk/>
            <pc:sldMk cId="2414038128" sldId="2475"/>
            <ac:spMk id="46" creationId="{08FE51C2-FBBE-4279-9CAB-0038B9BE5542}"/>
          </ac:spMkLst>
        </pc:spChg>
        <pc:picChg chg="mod">
          <ac:chgData name="Müller, Kurt (SI BP S TSS TR)" userId="e7e82c7e-80c6-42a5-ab71-24588885b7fe" providerId="ADAL" clId="{32F858BE-4F85-41AF-A90D-0B6DEF247AE5}" dt="2021-07-30T12:29:30.516" v="229" actId="1076"/>
          <ac:picMkLst>
            <pc:docMk/>
            <pc:sldMk cId="2414038128" sldId="2475"/>
            <ac:picMk id="26" creationId="{A94DF6E7-A3C6-44CA-AAFB-28C7CD605DE7}"/>
          </ac:picMkLst>
        </pc:picChg>
      </pc:sldChg>
      <pc:sldChg chg="modSp add mod">
        <pc:chgData name="Müller, Kurt (SI BP S TSS TR)" userId="e7e82c7e-80c6-42a5-ab71-24588885b7fe" providerId="ADAL" clId="{32F858BE-4F85-41AF-A90D-0B6DEF247AE5}" dt="2021-07-30T12:29:45.810" v="231" actId="1076"/>
        <pc:sldMkLst>
          <pc:docMk/>
          <pc:sldMk cId="1990938232" sldId="2476"/>
        </pc:sldMkLst>
        <pc:spChg chg="mod">
          <ac:chgData name="Müller, Kurt (SI BP S TSS TR)" userId="e7e82c7e-80c6-42a5-ab71-24588885b7fe" providerId="ADAL" clId="{32F858BE-4F85-41AF-A90D-0B6DEF247AE5}" dt="2021-07-30T12:29:45.810" v="231" actId="1076"/>
          <ac:spMkLst>
            <pc:docMk/>
            <pc:sldMk cId="1990938232" sldId="2476"/>
            <ac:spMk id="3" creationId="{A5755731-02C8-426E-B99F-08CC27728265}"/>
          </ac:spMkLst>
        </pc:spChg>
      </pc:sldChg>
      <pc:sldChg chg="modSp del mod">
        <pc:chgData name="Müller, Kurt (SI BP S TSS TR)" userId="e7e82c7e-80c6-42a5-ab71-24588885b7fe" providerId="ADAL" clId="{32F858BE-4F85-41AF-A90D-0B6DEF247AE5}" dt="2021-07-30T12:28:47.978" v="205" actId="2696"/>
        <pc:sldMkLst>
          <pc:docMk/>
          <pc:sldMk cId="3584621353" sldId="2476"/>
        </pc:sldMkLst>
        <pc:picChg chg="mod">
          <ac:chgData name="Müller, Kurt (SI BP S TSS TR)" userId="e7e82c7e-80c6-42a5-ab71-24588885b7fe" providerId="ADAL" clId="{32F858BE-4F85-41AF-A90D-0B6DEF247AE5}" dt="2021-07-30T12:26:43.198" v="202" actId="14100"/>
          <ac:picMkLst>
            <pc:docMk/>
            <pc:sldMk cId="3584621353" sldId="2476"/>
            <ac:picMk id="4" creationId="{1B26DE2A-0999-465E-BE66-AC54DB58DF49}"/>
          </ac:picMkLst>
        </pc:picChg>
        <pc:picChg chg="mod">
          <ac:chgData name="Müller, Kurt (SI BP S TSS TR)" userId="e7e82c7e-80c6-42a5-ab71-24588885b7fe" providerId="ADAL" clId="{32F858BE-4F85-41AF-A90D-0B6DEF247AE5}" dt="2021-07-30T12:27:00.173" v="204" actId="14100"/>
          <ac:picMkLst>
            <pc:docMk/>
            <pc:sldMk cId="3584621353" sldId="2476"/>
            <ac:picMk id="6" creationId="{6B866150-9A1B-4904-8279-95DEE8DF2D32}"/>
          </ac:picMkLst>
        </pc:picChg>
      </pc:sldChg>
      <pc:sldChg chg="del">
        <pc:chgData name="Müller, Kurt (SI BP S TSS TR)" userId="e7e82c7e-80c6-42a5-ab71-24588885b7fe" providerId="ADAL" clId="{32F858BE-4F85-41AF-A90D-0B6DEF247AE5}" dt="2021-07-30T12:28:47.978" v="205" actId="2696"/>
        <pc:sldMkLst>
          <pc:docMk/>
          <pc:sldMk cId="3362660250" sldId="2477"/>
        </pc:sldMkLst>
      </pc:sldChg>
      <pc:sldChg chg="add">
        <pc:chgData name="Müller, Kurt (SI BP S TSS TR)" userId="e7e82c7e-80c6-42a5-ab71-24588885b7fe" providerId="ADAL" clId="{32F858BE-4F85-41AF-A90D-0B6DEF247AE5}" dt="2021-07-30T12:28:57.563" v="206"/>
        <pc:sldMkLst>
          <pc:docMk/>
          <pc:sldMk cId="3784731429" sldId="2477"/>
        </pc:sldMkLst>
      </pc:sldChg>
      <pc:sldChg chg="modSp del mod">
        <pc:chgData name="Müller, Kurt (SI BP S TSS TR)" userId="e7e82c7e-80c6-42a5-ab71-24588885b7fe" providerId="ADAL" clId="{32F858BE-4F85-41AF-A90D-0B6DEF247AE5}" dt="2021-07-30T12:31:35.573" v="241" actId="2696"/>
        <pc:sldMkLst>
          <pc:docMk/>
          <pc:sldMk cId="2253445001" sldId="2478"/>
        </pc:sldMkLst>
        <pc:spChg chg="mod">
          <ac:chgData name="Müller, Kurt (SI BP S TSS TR)" userId="e7e82c7e-80c6-42a5-ab71-24588885b7fe" providerId="ADAL" clId="{32F858BE-4F85-41AF-A90D-0B6DEF247AE5}" dt="2021-07-30T12:30:57.012" v="237" actId="1076"/>
          <ac:spMkLst>
            <pc:docMk/>
            <pc:sldMk cId="2253445001" sldId="2478"/>
            <ac:spMk id="7" creationId="{9BDC5878-9005-45D7-A5B2-66D365CEEC04}"/>
          </ac:spMkLst>
        </pc:spChg>
        <pc:picChg chg="mod">
          <ac:chgData name="Müller, Kurt (SI BP S TSS TR)" userId="e7e82c7e-80c6-42a5-ab71-24588885b7fe" providerId="ADAL" clId="{32F858BE-4F85-41AF-A90D-0B6DEF247AE5}" dt="2021-07-30T12:31:26.881" v="240" actId="1076"/>
          <ac:picMkLst>
            <pc:docMk/>
            <pc:sldMk cId="2253445001" sldId="2478"/>
            <ac:picMk id="6" creationId="{6E06B637-5687-4953-AA0D-74DFD7D33977}"/>
          </ac:picMkLst>
        </pc:picChg>
      </pc:sldChg>
      <pc:sldChg chg="add">
        <pc:chgData name="Müller, Kurt (SI BP S TSS TR)" userId="e7e82c7e-80c6-42a5-ab71-24588885b7fe" providerId="ADAL" clId="{32F858BE-4F85-41AF-A90D-0B6DEF247AE5}" dt="2021-07-30T12:31:55.279" v="242"/>
        <pc:sldMkLst>
          <pc:docMk/>
          <pc:sldMk cId="3624876775" sldId="2478"/>
        </pc:sldMkLst>
      </pc:sldChg>
      <pc:sldChg chg="del">
        <pc:chgData name="Müller, Kurt (SI BP S TSS TR)" userId="e7e82c7e-80c6-42a5-ab71-24588885b7fe" providerId="ADAL" clId="{32F858BE-4F85-41AF-A90D-0B6DEF247AE5}" dt="2021-07-30T12:36:10.755" v="250" actId="2696"/>
        <pc:sldMkLst>
          <pc:docMk/>
          <pc:sldMk cId="595621035" sldId="2479"/>
        </pc:sldMkLst>
      </pc:sldChg>
      <pc:sldChg chg="add">
        <pc:chgData name="Müller, Kurt (SI BP S TSS TR)" userId="e7e82c7e-80c6-42a5-ab71-24588885b7fe" providerId="ADAL" clId="{32F858BE-4F85-41AF-A90D-0B6DEF247AE5}" dt="2021-07-30T12:36:15.381" v="251"/>
        <pc:sldMkLst>
          <pc:docMk/>
          <pc:sldMk cId="3213307314" sldId="2479"/>
        </pc:sldMkLst>
      </pc:sldChg>
      <pc:sldChg chg="modSp del mod">
        <pc:chgData name="Müller, Kurt (SI BP S TSS TR)" userId="e7e82c7e-80c6-42a5-ab71-24588885b7fe" providerId="ADAL" clId="{32F858BE-4F85-41AF-A90D-0B6DEF247AE5}" dt="2021-07-30T12:36:10.755" v="250" actId="2696"/>
        <pc:sldMkLst>
          <pc:docMk/>
          <pc:sldMk cId="814328118" sldId="2480"/>
        </pc:sldMkLst>
        <pc:spChg chg="mod">
          <ac:chgData name="Müller, Kurt (SI BP S TSS TR)" userId="e7e82c7e-80c6-42a5-ab71-24588885b7fe" providerId="ADAL" clId="{32F858BE-4F85-41AF-A90D-0B6DEF247AE5}" dt="2021-07-30T12:34:47.440" v="243" actId="14100"/>
          <ac:spMkLst>
            <pc:docMk/>
            <pc:sldMk cId="814328118" sldId="2480"/>
            <ac:spMk id="6" creationId="{4076B801-8FDD-414F-828C-480F1AC072F9}"/>
          </ac:spMkLst>
        </pc:spChg>
        <pc:picChg chg="mod modCrop">
          <ac:chgData name="Müller, Kurt (SI BP S TSS TR)" userId="e7e82c7e-80c6-42a5-ab71-24588885b7fe" providerId="ADAL" clId="{32F858BE-4F85-41AF-A90D-0B6DEF247AE5}" dt="2021-07-30T12:35:02.280" v="249" actId="1076"/>
          <ac:picMkLst>
            <pc:docMk/>
            <pc:sldMk cId="814328118" sldId="2480"/>
            <ac:picMk id="4" creationId="{20D514E3-20B2-4EFB-9A64-94A7996C640B}"/>
          </ac:picMkLst>
        </pc:picChg>
      </pc:sldChg>
      <pc:sldChg chg="add">
        <pc:chgData name="Müller, Kurt (SI BP S TSS TR)" userId="e7e82c7e-80c6-42a5-ab71-24588885b7fe" providerId="ADAL" clId="{32F858BE-4F85-41AF-A90D-0B6DEF247AE5}" dt="2021-07-30T12:36:15.381" v="251"/>
        <pc:sldMkLst>
          <pc:docMk/>
          <pc:sldMk cId="1985277454" sldId="2480"/>
        </pc:sldMkLst>
      </pc:sldChg>
      <pc:sldChg chg="mod modShow">
        <pc:chgData name="Müller, Kurt (SI BP S TSS TR)" userId="e7e82c7e-80c6-42a5-ab71-24588885b7fe" providerId="ADAL" clId="{32F858BE-4F85-41AF-A90D-0B6DEF247AE5}" dt="2021-07-30T12:36:43.865" v="252" actId="729"/>
        <pc:sldMkLst>
          <pc:docMk/>
          <pc:sldMk cId="2452202270" sldId="2481"/>
        </pc:sldMkLst>
      </pc:sldChg>
      <pc:sldChg chg="mod modShow">
        <pc:chgData name="Müller, Kurt (SI BP S TSS TR)" userId="e7e82c7e-80c6-42a5-ab71-24588885b7fe" providerId="ADAL" clId="{32F858BE-4F85-41AF-A90D-0B6DEF247AE5}" dt="2021-07-30T12:36:49.331" v="253" actId="729"/>
        <pc:sldMkLst>
          <pc:docMk/>
          <pc:sldMk cId="858666762" sldId="2482"/>
        </pc:sldMkLst>
      </pc:sldChg>
      <pc:sldChg chg="mod modShow">
        <pc:chgData name="Müller, Kurt (SI BP S TSS TR)" userId="e7e82c7e-80c6-42a5-ab71-24588885b7fe" providerId="ADAL" clId="{32F858BE-4F85-41AF-A90D-0B6DEF247AE5}" dt="2021-07-30T12:41:38.135" v="263" actId="729"/>
        <pc:sldMkLst>
          <pc:docMk/>
          <pc:sldMk cId="303393052" sldId="2483"/>
        </pc:sldMkLst>
      </pc:sldChg>
      <pc:sldChg chg="mod modShow">
        <pc:chgData name="Müller, Kurt (SI BP S TSS TR)" userId="e7e82c7e-80c6-42a5-ab71-24588885b7fe" providerId="ADAL" clId="{32F858BE-4F85-41AF-A90D-0B6DEF247AE5}" dt="2021-07-30T12:41:40.732" v="264" actId="729"/>
        <pc:sldMkLst>
          <pc:docMk/>
          <pc:sldMk cId="3003288861" sldId="2484"/>
        </pc:sldMkLst>
      </pc:sldChg>
      <pc:sldChg chg="modSp mod modShow">
        <pc:chgData name="Müller, Kurt (SI BP S TSS TR)" userId="e7e82c7e-80c6-42a5-ab71-24588885b7fe" providerId="ADAL" clId="{32F858BE-4F85-41AF-A90D-0B6DEF247AE5}" dt="2021-07-30T12:41:49.333" v="265" actId="729"/>
        <pc:sldMkLst>
          <pc:docMk/>
          <pc:sldMk cId="832594008" sldId="2485"/>
        </pc:sldMkLst>
        <pc:spChg chg="mod">
          <ac:chgData name="Müller, Kurt (SI BP S TSS TR)" userId="e7e82c7e-80c6-42a5-ab71-24588885b7fe" providerId="ADAL" clId="{32F858BE-4F85-41AF-A90D-0B6DEF247AE5}" dt="2021-07-30T12:38:58.103" v="255" actId="1076"/>
          <ac:spMkLst>
            <pc:docMk/>
            <pc:sldMk cId="832594008" sldId="2485"/>
            <ac:spMk id="7" creationId="{31C7A123-6F8E-4204-9AC6-78D671BF3734}"/>
          </ac:spMkLst>
        </pc:spChg>
      </pc:sldChg>
      <pc:sldChg chg="mod modShow">
        <pc:chgData name="Müller, Kurt (SI BP S TSS TR)" userId="e7e82c7e-80c6-42a5-ab71-24588885b7fe" providerId="ADAL" clId="{32F858BE-4F85-41AF-A90D-0B6DEF247AE5}" dt="2021-07-30T12:41:54.625" v="266" actId="729"/>
        <pc:sldMkLst>
          <pc:docMk/>
          <pc:sldMk cId="1041308441" sldId="2486"/>
        </pc:sldMkLst>
      </pc:sldChg>
      <pc:sldChg chg="modSp mod">
        <pc:chgData name="Müller, Kurt (SI BP S TSS TR)" userId="e7e82c7e-80c6-42a5-ab71-24588885b7fe" providerId="ADAL" clId="{32F858BE-4F85-41AF-A90D-0B6DEF247AE5}" dt="2021-07-30T12:40:29.613" v="257" actId="1076"/>
        <pc:sldMkLst>
          <pc:docMk/>
          <pc:sldMk cId="3669013639" sldId="2487"/>
        </pc:sldMkLst>
        <pc:spChg chg="mod">
          <ac:chgData name="Müller, Kurt (SI BP S TSS TR)" userId="e7e82c7e-80c6-42a5-ab71-24588885b7fe" providerId="ADAL" clId="{32F858BE-4F85-41AF-A90D-0B6DEF247AE5}" dt="2021-07-30T12:40:29.613" v="257" actId="1076"/>
          <ac:spMkLst>
            <pc:docMk/>
            <pc:sldMk cId="3669013639" sldId="2487"/>
            <ac:spMk id="7174" creationId="{FFD3988D-0845-4BF5-AD01-6FB859AD3614}"/>
          </ac:spMkLst>
        </pc:spChg>
      </pc:sldChg>
      <pc:sldChg chg="del">
        <pc:chgData name="Müller, Kurt (SI BP S TSS TR)" userId="e7e82c7e-80c6-42a5-ab71-24588885b7fe" providerId="ADAL" clId="{32F858BE-4F85-41AF-A90D-0B6DEF247AE5}" dt="2021-07-30T12:03:35.495" v="0" actId="47"/>
        <pc:sldMkLst>
          <pc:docMk/>
          <pc:sldMk cId="4232096457" sldId="2495"/>
        </pc:sldMkLst>
      </pc:sldChg>
      <pc:sldChg chg="del">
        <pc:chgData name="Müller, Kurt (SI BP S TSS TR)" userId="e7e82c7e-80c6-42a5-ab71-24588885b7fe" providerId="ADAL" clId="{32F858BE-4F85-41AF-A90D-0B6DEF247AE5}" dt="2021-07-30T12:03:35.495" v="0" actId="47"/>
        <pc:sldMkLst>
          <pc:docMk/>
          <pc:sldMk cId="2404136697" sldId="2496"/>
        </pc:sldMkLst>
      </pc:sldChg>
      <pc:sldChg chg="del">
        <pc:chgData name="Müller, Kurt (SI BP S TSS TR)" userId="e7e82c7e-80c6-42a5-ab71-24588885b7fe" providerId="ADAL" clId="{32F858BE-4F85-41AF-A90D-0B6DEF247AE5}" dt="2021-07-30T12:44:34.480" v="267" actId="47"/>
        <pc:sldMkLst>
          <pc:docMk/>
          <pc:sldMk cId="1010149303" sldId="2500"/>
        </pc:sldMkLst>
      </pc:sldChg>
      <pc:sldChg chg="del">
        <pc:chgData name="Müller, Kurt (SI BP S TSS TR)" userId="e7e82c7e-80c6-42a5-ab71-24588885b7fe" providerId="ADAL" clId="{32F858BE-4F85-41AF-A90D-0B6DEF247AE5}" dt="2021-07-30T12:44:34.480" v="267" actId="47"/>
        <pc:sldMkLst>
          <pc:docMk/>
          <pc:sldMk cId="3963151481" sldId="2502"/>
        </pc:sldMkLst>
      </pc:sldChg>
      <pc:sldChg chg="del">
        <pc:chgData name="Müller, Kurt (SI BP S TSS TR)" userId="e7e82c7e-80c6-42a5-ab71-24588885b7fe" providerId="ADAL" clId="{32F858BE-4F85-41AF-A90D-0B6DEF247AE5}" dt="2021-07-30T12:03:35.495" v="0" actId="47"/>
        <pc:sldMkLst>
          <pc:docMk/>
          <pc:sldMk cId="4034681120" sldId="2503"/>
        </pc:sldMkLst>
      </pc:sldChg>
      <pc:sldChg chg="del">
        <pc:chgData name="Müller, Kurt (SI BP S TSS TR)" userId="e7e82c7e-80c6-42a5-ab71-24588885b7fe" providerId="ADAL" clId="{32F858BE-4F85-41AF-A90D-0B6DEF247AE5}" dt="2021-07-30T12:03:35.495" v="0" actId="47"/>
        <pc:sldMkLst>
          <pc:docMk/>
          <pc:sldMk cId="3944122184" sldId="2505"/>
        </pc:sldMkLst>
      </pc:sldChg>
      <pc:sldChg chg="del">
        <pc:chgData name="Müller, Kurt (SI BP S TSS TR)" userId="e7e82c7e-80c6-42a5-ab71-24588885b7fe" providerId="ADAL" clId="{32F858BE-4F85-41AF-A90D-0B6DEF247AE5}" dt="2021-07-30T12:03:35.495" v="0" actId="47"/>
        <pc:sldMkLst>
          <pc:docMk/>
          <pc:sldMk cId="2453302244" sldId="2512"/>
        </pc:sldMkLst>
      </pc:sldChg>
      <pc:sldChg chg="del">
        <pc:chgData name="Müller, Kurt (SI BP S TSS TR)" userId="e7e82c7e-80c6-42a5-ab71-24588885b7fe" providerId="ADAL" clId="{32F858BE-4F85-41AF-A90D-0B6DEF247AE5}" dt="2021-07-30T12:44:34.480" v="267" actId="47"/>
        <pc:sldMkLst>
          <pc:docMk/>
          <pc:sldMk cId="2348171477" sldId="2513"/>
        </pc:sldMkLst>
      </pc:sldChg>
      <pc:sldChg chg="del">
        <pc:chgData name="Müller, Kurt (SI BP S TSS TR)" userId="e7e82c7e-80c6-42a5-ab71-24588885b7fe" providerId="ADAL" clId="{32F858BE-4F85-41AF-A90D-0B6DEF247AE5}" dt="2021-07-30T12:03:35.495" v="0" actId="47"/>
        <pc:sldMkLst>
          <pc:docMk/>
          <pc:sldMk cId="3377838418" sldId="2521"/>
        </pc:sldMkLst>
      </pc:sldChg>
      <pc:sldChg chg="del">
        <pc:chgData name="Müller, Kurt (SI BP S TSS TR)" userId="e7e82c7e-80c6-42a5-ab71-24588885b7fe" providerId="ADAL" clId="{32F858BE-4F85-41AF-A90D-0B6DEF247AE5}" dt="2021-07-30T12:03:35.495" v="0" actId="47"/>
        <pc:sldMkLst>
          <pc:docMk/>
          <pc:sldMk cId="130068761" sldId="2523"/>
        </pc:sldMkLst>
      </pc:sldChg>
      <pc:sldChg chg="del">
        <pc:chgData name="Müller, Kurt (SI BP S TSS TR)" userId="e7e82c7e-80c6-42a5-ab71-24588885b7fe" providerId="ADAL" clId="{32F858BE-4F85-41AF-A90D-0B6DEF247AE5}" dt="2021-07-30T12:03:35.495" v="0" actId="47"/>
        <pc:sldMkLst>
          <pc:docMk/>
          <pc:sldMk cId="4211098316" sldId="2527"/>
        </pc:sldMkLst>
      </pc:sldChg>
      <pc:sldChg chg="del">
        <pc:chgData name="Müller, Kurt (SI BP S TSS TR)" userId="e7e82c7e-80c6-42a5-ab71-24588885b7fe" providerId="ADAL" clId="{32F858BE-4F85-41AF-A90D-0B6DEF247AE5}" dt="2021-07-30T12:03:35.495" v="0" actId="47"/>
        <pc:sldMkLst>
          <pc:docMk/>
          <pc:sldMk cId="831819503" sldId="2529"/>
        </pc:sldMkLst>
      </pc:sldChg>
      <pc:sldChg chg="del">
        <pc:chgData name="Müller, Kurt (SI BP S TSS TR)" userId="e7e82c7e-80c6-42a5-ab71-24588885b7fe" providerId="ADAL" clId="{32F858BE-4F85-41AF-A90D-0B6DEF247AE5}" dt="2021-07-30T12:03:35.495" v="0" actId="47"/>
        <pc:sldMkLst>
          <pc:docMk/>
          <pc:sldMk cId="2692371021" sldId="2530"/>
        </pc:sldMkLst>
      </pc:sldChg>
      <pc:sldChg chg="del">
        <pc:chgData name="Müller, Kurt (SI BP S TSS TR)" userId="e7e82c7e-80c6-42a5-ab71-24588885b7fe" providerId="ADAL" clId="{32F858BE-4F85-41AF-A90D-0B6DEF247AE5}" dt="2021-07-30T12:03:35.495" v="0" actId="47"/>
        <pc:sldMkLst>
          <pc:docMk/>
          <pc:sldMk cId="37857769" sldId="2531"/>
        </pc:sldMkLst>
      </pc:sldChg>
      <pc:sldChg chg="del">
        <pc:chgData name="Müller, Kurt (SI BP S TSS TR)" userId="e7e82c7e-80c6-42a5-ab71-24588885b7fe" providerId="ADAL" clId="{32F858BE-4F85-41AF-A90D-0B6DEF247AE5}" dt="2021-07-30T12:44:34.480" v="267" actId="47"/>
        <pc:sldMkLst>
          <pc:docMk/>
          <pc:sldMk cId="1073992634" sldId="2533"/>
        </pc:sldMkLst>
      </pc:sldChg>
      <pc:sldChg chg="del">
        <pc:chgData name="Müller, Kurt (SI BP S TSS TR)" userId="e7e82c7e-80c6-42a5-ab71-24588885b7fe" providerId="ADAL" clId="{32F858BE-4F85-41AF-A90D-0B6DEF247AE5}" dt="2021-07-30T12:03:35.495" v="0" actId="47"/>
        <pc:sldMkLst>
          <pc:docMk/>
          <pc:sldMk cId="4101295354" sldId="2535"/>
        </pc:sldMkLst>
      </pc:sldChg>
      <pc:sldChg chg="del">
        <pc:chgData name="Müller, Kurt (SI BP S TSS TR)" userId="e7e82c7e-80c6-42a5-ab71-24588885b7fe" providerId="ADAL" clId="{32F858BE-4F85-41AF-A90D-0B6DEF247AE5}" dt="2021-07-30T12:03:35.495" v="0" actId="47"/>
        <pc:sldMkLst>
          <pc:docMk/>
          <pc:sldMk cId="755539901" sldId="2537"/>
        </pc:sldMkLst>
      </pc:sldChg>
      <pc:sldChg chg="del">
        <pc:chgData name="Müller, Kurt (SI BP S TSS TR)" userId="e7e82c7e-80c6-42a5-ab71-24588885b7fe" providerId="ADAL" clId="{32F858BE-4F85-41AF-A90D-0B6DEF247AE5}" dt="2021-07-30T12:03:35.495" v="0" actId="47"/>
        <pc:sldMkLst>
          <pc:docMk/>
          <pc:sldMk cId="979859103" sldId="2539"/>
        </pc:sldMkLst>
      </pc:sldChg>
      <pc:sldChg chg="del">
        <pc:chgData name="Müller, Kurt (SI BP S TSS TR)" userId="e7e82c7e-80c6-42a5-ab71-24588885b7fe" providerId="ADAL" clId="{32F858BE-4F85-41AF-A90D-0B6DEF247AE5}" dt="2021-07-30T12:03:35.495" v="0" actId="47"/>
        <pc:sldMkLst>
          <pc:docMk/>
          <pc:sldMk cId="3076480418" sldId="2541"/>
        </pc:sldMkLst>
      </pc:sldChg>
      <pc:sldChg chg="del">
        <pc:chgData name="Müller, Kurt (SI BP S TSS TR)" userId="e7e82c7e-80c6-42a5-ab71-24588885b7fe" providerId="ADAL" clId="{32F858BE-4F85-41AF-A90D-0B6DEF247AE5}" dt="2021-07-30T12:03:35.495" v="0" actId="47"/>
        <pc:sldMkLst>
          <pc:docMk/>
          <pc:sldMk cId="543068732" sldId="2542"/>
        </pc:sldMkLst>
      </pc:sldChg>
      <pc:sldChg chg="del">
        <pc:chgData name="Müller, Kurt (SI BP S TSS TR)" userId="e7e82c7e-80c6-42a5-ab71-24588885b7fe" providerId="ADAL" clId="{32F858BE-4F85-41AF-A90D-0B6DEF247AE5}" dt="2021-07-30T12:03:35.495" v="0" actId="47"/>
        <pc:sldMkLst>
          <pc:docMk/>
          <pc:sldMk cId="3666614304" sldId="2543"/>
        </pc:sldMkLst>
      </pc:sldChg>
      <pc:sldChg chg="del">
        <pc:chgData name="Müller, Kurt (SI BP S TSS TR)" userId="e7e82c7e-80c6-42a5-ab71-24588885b7fe" providerId="ADAL" clId="{32F858BE-4F85-41AF-A90D-0B6DEF247AE5}" dt="2021-07-30T12:03:35.495" v="0" actId="47"/>
        <pc:sldMkLst>
          <pc:docMk/>
          <pc:sldMk cId="745418582" sldId="2546"/>
        </pc:sldMkLst>
      </pc:sldChg>
      <pc:sldChg chg="del">
        <pc:chgData name="Müller, Kurt (SI BP S TSS TR)" userId="e7e82c7e-80c6-42a5-ab71-24588885b7fe" providerId="ADAL" clId="{32F858BE-4F85-41AF-A90D-0B6DEF247AE5}" dt="2021-07-30T12:03:35.495" v="0" actId="47"/>
        <pc:sldMkLst>
          <pc:docMk/>
          <pc:sldMk cId="3552608511" sldId="2549"/>
        </pc:sldMkLst>
      </pc:sldChg>
      <pc:sldChg chg="del">
        <pc:chgData name="Müller, Kurt (SI BP S TSS TR)" userId="e7e82c7e-80c6-42a5-ab71-24588885b7fe" providerId="ADAL" clId="{32F858BE-4F85-41AF-A90D-0B6DEF247AE5}" dt="2021-07-30T12:03:35.495" v="0" actId="47"/>
        <pc:sldMkLst>
          <pc:docMk/>
          <pc:sldMk cId="1468895470" sldId="2552"/>
        </pc:sldMkLst>
      </pc:sldChg>
      <pc:sldChg chg="del">
        <pc:chgData name="Müller, Kurt (SI BP S TSS TR)" userId="e7e82c7e-80c6-42a5-ab71-24588885b7fe" providerId="ADAL" clId="{32F858BE-4F85-41AF-A90D-0B6DEF247AE5}" dt="2021-07-30T12:03:35.495" v="0" actId="47"/>
        <pc:sldMkLst>
          <pc:docMk/>
          <pc:sldMk cId="1930808989" sldId="2553"/>
        </pc:sldMkLst>
      </pc:sldChg>
      <pc:sldChg chg="del">
        <pc:chgData name="Müller, Kurt (SI BP S TSS TR)" userId="e7e82c7e-80c6-42a5-ab71-24588885b7fe" providerId="ADAL" clId="{32F858BE-4F85-41AF-A90D-0B6DEF247AE5}" dt="2021-07-30T12:03:35.495" v="0" actId="47"/>
        <pc:sldMkLst>
          <pc:docMk/>
          <pc:sldMk cId="3395677285" sldId="2555"/>
        </pc:sldMkLst>
      </pc:sldChg>
      <pc:sldChg chg="del">
        <pc:chgData name="Müller, Kurt (SI BP S TSS TR)" userId="e7e82c7e-80c6-42a5-ab71-24588885b7fe" providerId="ADAL" clId="{32F858BE-4F85-41AF-A90D-0B6DEF247AE5}" dt="2021-07-30T12:44:34.480" v="267" actId="47"/>
        <pc:sldMkLst>
          <pc:docMk/>
          <pc:sldMk cId="1320844567" sldId="2556"/>
        </pc:sldMkLst>
      </pc:sldChg>
      <pc:sldChg chg="del">
        <pc:chgData name="Müller, Kurt (SI BP S TSS TR)" userId="e7e82c7e-80c6-42a5-ab71-24588885b7fe" providerId="ADAL" clId="{32F858BE-4F85-41AF-A90D-0B6DEF247AE5}" dt="2021-07-30T12:03:35.495" v="0" actId="47"/>
        <pc:sldMkLst>
          <pc:docMk/>
          <pc:sldMk cId="500407796" sldId="2557"/>
        </pc:sldMkLst>
      </pc:sldChg>
      <pc:sldChg chg="del">
        <pc:chgData name="Müller, Kurt (SI BP S TSS TR)" userId="e7e82c7e-80c6-42a5-ab71-24588885b7fe" providerId="ADAL" clId="{32F858BE-4F85-41AF-A90D-0B6DEF247AE5}" dt="2021-07-30T12:03:35.495" v="0" actId="47"/>
        <pc:sldMkLst>
          <pc:docMk/>
          <pc:sldMk cId="4271857" sldId="2558"/>
        </pc:sldMkLst>
      </pc:sldChg>
      <pc:sldChg chg="del">
        <pc:chgData name="Müller, Kurt (SI BP S TSS TR)" userId="e7e82c7e-80c6-42a5-ab71-24588885b7fe" providerId="ADAL" clId="{32F858BE-4F85-41AF-A90D-0B6DEF247AE5}" dt="2021-07-30T12:03:35.495" v="0" actId="47"/>
        <pc:sldMkLst>
          <pc:docMk/>
          <pc:sldMk cId="3122760018" sldId="2559"/>
        </pc:sldMkLst>
      </pc:sldChg>
      <pc:sldChg chg="del">
        <pc:chgData name="Müller, Kurt (SI BP S TSS TR)" userId="e7e82c7e-80c6-42a5-ab71-24588885b7fe" providerId="ADAL" clId="{32F858BE-4F85-41AF-A90D-0B6DEF247AE5}" dt="2021-07-30T12:03:35.495" v="0" actId="47"/>
        <pc:sldMkLst>
          <pc:docMk/>
          <pc:sldMk cId="1480321109" sldId="2560"/>
        </pc:sldMkLst>
      </pc:sldChg>
      <pc:sldChg chg="del">
        <pc:chgData name="Müller, Kurt (SI BP S TSS TR)" userId="e7e82c7e-80c6-42a5-ab71-24588885b7fe" providerId="ADAL" clId="{32F858BE-4F85-41AF-A90D-0B6DEF247AE5}" dt="2021-07-30T12:44:34.480" v="267" actId="47"/>
        <pc:sldMkLst>
          <pc:docMk/>
          <pc:sldMk cId="4241341556" sldId="2561"/>
        </pc:sldMkLst>
      </pc:sldChg>
      <pc:sldChg chg="del">
        <pc:chgData name="Müller, Kurt (SI BP S TSS TR)" userId="e7e82c7e-80c6-42a5-ab71-24588885b7fe" providerId="ADAL" clId="{32F858BE-4F85-41AF-A90D-0B6DEF247AE5}" dt="2021-07-30T12:03:35.495" v="0" actId="47"/>
        <pc:sldMkLst>
          <pc:docMk/>
          <pc:sldMk cId="4214621097" sldId="2563"/>
        </pc:sldMkLst>
      </pc:sldChg>
      <pc:sldChg chg="del">
        <pc:chgData name="Müller, Kurt (SI BP S TSS TR)" userId="e7e82c7e-80c6-42a5-ab71-24588885b7fe" providerId="ADAL" clId="{32F858BE-4F85-41AF-A90D-0B6DEF247AE5}" dt="2021-07-30T12:03:35.495" v="0" actId="47"/>
        <pc:sldMkLst>
          <pc:docMk/>
          <pc:sldMk cId="1465483980" sldId="2564"/>
        </pc:sldMkLst>
      </pc:sldChg>
      <pc:sldChg chg="del">
        <pc:chgData name="Müller, Kurt (SI BP S TSS TR)" userId="e7e82c7e-80c6-42a5-ab71-24588885b7fe" providerId="ADAL" clId="{32F858BE-4F85-41AF-A90D-0B6DEF247AE5}" dt="2021-07-30T12:03:35.495" v="0" actId="47"/>
        <pc:sldMkLst>
          <pc:docMk/>
          <pc:sldMk cId="1794987599" sldId="2565"/>
        </pc:sldMkLst>
      </pc:sldChg>
      <pc:sldChg chg="del">
        <pc:chgData name="Müller, Kurt (SI BP S TSS TR)" userId="e7e82c7e-80c6-42a5-ab71-24588885b7fe" providerId="ADAL" clId="{32F858BE-4F85-41AF-A90D-0B6DEF247AE5}" dt="2021-07-30T12:03:35.495" v="0" actId="47"/>
        <pc:sldMkLst>
          <pc:docMk/>
          <pc:sldMk cId="3026962512" sldId="2566"/>
        </pc:sldMkLst>
      </pc:sldChg>
      <pc:sldChg chg="del">
        <pc:chgData name="Müller, Kurt (SI BP S TSS TR)" userId="e7e82c7e-80c6-42a5-ab71-24588885b7fe" providerId="ADAL" clId="{32F858BE-4F85-41AF-A90D-0B6DEF247AE5}" dt="2021-07-30T12:44:34.480" v="267" actId="47"/>
        <pc:sldMkLst>
          <pc:docMk/>
          <pc:sldMk cId="2815062650" sldId="2567"/>
        </pc:sldMkLst>
      </pc:sldChg>
      <pc:sldChg chg="del">
        <pc:chgData name="Müller, Kurt (SI BP S TSS TR)" userId="e7e82c7e-80c6-42a5-ab71-24588885b7fe" providerId="ADAL" clId="{32F858BE-4F85-41AF-A90D-0B6DEF247AE5}" dt="2021-07-30T12:03:35.495" v="0" actId="47"/>
        <pc:sldMkLst>
          <pc:docMk/>
          <pc:sldMk cId="1162615204" sldId="2568"/>
        </pc:sldMkLst>
      </pc:sldChg>
      <pc:sldChg chg="delSp modSp add del mod">
        <pc:chgData name="Müller, Kurt (SI BP S TSS TR)" userId="e7e82c7e-80c6-42a5-ab71-24588885b7fe" providerId="ADAL" clId="{32F858BE-4F85-41AF-A90D-0B6DEF247AE5}" dt="2021-07-30T12:41:02.641" v="262" actId="47"/>
        <pc:sldMkLst>
          <pc:docMk/>
          <pc:sldMk cId="4164848306" sldId="2568"/>
        </pc:sldMkLst>
        <pc:spChg chg="mod">
          <ac:chgData name="Müller, Kurt (SI BP S TSS TR)" userId="e7e82c7e-80c6-42a5-ab71-24588885b7fe" providerId="ADAL" clId="{32F858BE-4F85-41AF-A90D-0B6DEF247AE5}" dt="2021-07-30T12:21:51.090" v="155" actId="6549"/>
          <ac:spMkLst>
            <pc:docMk/>
            <pc:sldMk cId="4164848306" sldId="2568"/>
            <ac:spMk id="9" creationId="{63E4AF9C-9BE2-481C-9F4E-96EAB9FC6B9D}"/>
          </ac:spMkLst>
        </pc:spChg>
        <pc:spChg chg="del mod">
          <ac:chgData name="Müller, Kurt (SI BP S TSS TR)" userId="e7e82c7e-80c6-42a5-ab71-24588885b7fe" providerId="ADAL" clId="{32F858BE-4F85-41AF-A90D-0B6DEF247AE5}" dt="2021-07-30T12:40:59.536" v="260" actId="21"/>
          <ac:spMkLst>
            <pc:docMk/>
            <pc:sldMk cId="4164848306" sldId="2568"/>
            <ac:spMk id="9223" creationId="{5D59B258-C08B-43CB-95CB-677ACE2575E2}"/>
          </ac:spMkLst>
        </pc:spChg>
        <pc:graphicFrameChg chg="del modGraphic">
          <ac:chgData name="Müller, Kurt (SI BP S TSS TR)" userId="e7e82c7e-80c6-42a5-ab71-24588885b7fe" providerId="ADAL" clId="{32F858BE-4F85-41AF-A90D-0B6DEF247AE5}" dt="2021-07-30T12:21:47.430" v="149" actId="478"/>
          <ac:graphicFrameMkLst>
            <pc:docMk/>
            <pc:sldMk cId="4164848306" sldId="2568"/>
            <ac:graphicFrameMk id="24" creationId="{61DC41C9-DAC1-4127-91B3-975A82AE15C0}"/>
          </ac:graphicFrameMkLst>
        </pc:graphicFrameChg>
      </pc:sldChg>
      <pc:sldChg chg="del">
        <pc:chgData name="Müller, Kurt (SI BP S TSS TR)" userId="e7e82c7e-80c6-42a5-ab71-24588885b7fe" providerId="ADAL" clId="{32F858BE-4F85-41AF-A90D-0B6DEF247AE5}" dt="2021-07-30T12:03:35.495" v="0" actId="47"/>
        <pc:sldMkLst>
          <pc:docMk/>
          <pc:sldMk cId="2878704115" sldId="2569"/>
        </pc:sldMkLst>
      </pc:sldChg>
      <pc:sldChg chg="del">
        <pc:chgData name="Müller, Kurt (SI BP S TSS TR)" userId="e7e82c7e-80c6-42a5-ab71-24588885b7fe" providerId="ADAL" clId="{32F858BE-4F85-41AF-A90D-0B6DEF247AE5}" dt="2021-07-30T12:03:35.495" v="0" actId="47"/>
        <pc:sldMkLst>
          <pc:docMk/>
          <pc:sldMk cId="3755587644" sldId="2570"/>
        </pc:sldMkLst>
      </pc:sldChg>
      <pc:sldChg chg="del">
        <pc:chgData name="Müller, Kurt (SI BP S TSS TR)" userId="e7e82c7e-80c6-42a5-ab71-24588885b7fe" providerId="ADAL" clId="{32F858BE-4F85-41AF-A90D-0B6DEF247AE5}" dt="2021-07-30T12:03:35.495" v="0" actId="47"/>
        <pc:sldMkLst>
          <pc:docMk/>
          <pc:sldMk cId="1660204262" sldId="2571"/>
        </pc:sldMkLst>
      </pc:sldChg>
      <pc:sldMasterChg chg="delSldLayout">
        <pc:chgData name="Müller, Kurt (SI BP S TSS TR)" userId="e7e82c7e-80c6-42a5-ab71-24588885b7fe" providerId="ADAL" clId="{32F858BE-4F85-41AF-A90D-0B6DEF247AE5}" dt="2021-07-30T12:44:34.480" v="267" actId="47"/>
        <pc:sldMasterMkLst>
          <pc:docMk/>
          <pc:sldMasterMk cId="0" sldId="2147483669"/>
        </pc:sldMasterMkLst>
        <pc:sldLayoutChg chg="del">
          <pc:chgData name="Müller, Kurt (SI BP S TSS TR)" userId="e7e82c7e-80c6-42a5-ab71-24588885b7fe" providerId="ADAL" clId="{32F858BE-4F85-41AF-A90D-0B6DEF247AE5}" dt="2021-07-30T12:03:35.495" v="0" actId="47"/>
          <pc:sldLayoutMkLst>
            <pc:docMk/>
            <pc:sldMasterMk cId="0" sldId="2147483669"/>
            <pc:sldLayoutMk cId="2472471974" sldId="2147483696"/>
          </pc:sldLayoutMkLst>
        </pc:sldLayoutChg>
        <pc:sldLayoutChg chg="del">
          <pc:chgData name="Müller, Kurt (SI BP S TSS TR)" userId="e7e82c7e-80c6-42a5-ab71-24588885b7fe" providerId="ADAL" clId="{32F858BE-4F85-41AF-A90D-0B6DEF247AE5}" dt="2021-07-30T12:03:35.495" v="0" actId="47"/>
          <pc:sldLayoutMkLst>
            <pc:docMk/>
            <pc:sldMasterMk cId="0" sldId="2147483669"/>
            <pc:sldLayoutMk cId="1461486420" sldId="2147483698"/>
          </pc:sldLayoutMkLst>
        </pc:sldLayoutChg>
        <pc:sldLayoutChg chg="del">
          <pc:chgData name="Müller, Kurt (SI BP S TSS TR)" userId="e7e82c7e-80c6-42a5-ab71-24588885b7fe" providerId="ADAL" clId="{32F858BE-4F85-41AF-A90D-0B6DEF247AE5}" dt="2021-07-30T12:44:34.480" v="267" actId="47"/>
          <pc:sldLayoutMkLst>
            <pc:docMk/>
            <pc:sldMasterMk cId="0" sldId="2147483669"/>
            <pc:sldLayoutMk cId="3315154819" sldId="2147483700"/>
          </pc:sldLayoutMkLst>
        </pc:sldLayoutChg>
        <pc:sldLayoutChg chg="del">
          <pc:chgData name="Müller, Kurt (SI BP S TSS TR)" userId="e7e82c7e-80c6-42a5-ab71-24588885b7fe" providerId="ADAL" clId="{32F858BE-4F85-41AF-A90D-0B6DEF247AE5}" dt="2021-07-30T12:03:35.495" v="0" actId="47"/>
          <pc:sldLayoutMkLst>
            <pc:docMk/>
            <pc:sldMasterMk cId="0" sldId="2147483669"/>
            <pc:sldLayoutMk cId="421941292" sldId="2147483702"/>
          </pc:sldLayoutMkLst>
        </pc:sldLayoutChg>
      </pc:sldMasterChg>
    </pc:docChg>
  </pc:docChgLst>
  <pc:docChgLst>
    <pc:chgData name="Gao, Tianyun (SI BP FDO CON PROD)" userId="25b3c3cc-5a46-4d03-a516-a1293833cff3" providerId="ADAL" clId="{D28EE0E3-3F55-4F2A-8875-B92F1E1CCF13}"/>
    <pc:docChg chg="undo custSel addSld modSld sldOrd">
      <pc:chgData name="Gao, Tianyun (SI BP FDO CON PROD)" userId="25b3c3cc-5a46-4d03-a516-a1293833cff3" providerId="ADAL" clId="{D28EE0E3-3F55-4F2A-8875-B92F1E1CCF13}" dt="2021-04-01T09:11:56.557" v="1266" actId="20578"/>
      <pc:docMkLst>
        <pc:docMk/>
      </pc:docMkLst>
      <pc:sldChg chg="ord">
        <pc:chgData name="Gao, Tianyun (SI BP FDO CON PROD)" userId="25b3c3cc-5a46-4d03-a516-a1293833cff3" providerId="ADAL" clId="{D28EE0E3-3F55-4F2A-8875-B92F1E1CCF13}" dt="2021-04-01T09:11:56.557" v="1266" actId="20578"/>
        <pc:sldMkLst>
          <pc:docMk/>
          <pc:sldMk cId="1721004004" sldId="1027"/>
        </pc:sldMkLst>
      </pc:sldChg>
      <pc:sldChg chg="ord">
        <pc:chgData name="Gao, Tianyun (SI BP FDO CON PROD)" userId="25b3c3cc-5a46-4d03-a516-a1293833cff3" providerId="ADAL" clId="{D28EE0E3-3F55-4F2A-8875-B92F1E1CCF13}" dt="2021-04-01T09:11:56.557" v="1266" actId="20578"/>
        <pc:sldMkLst>
          <pc:docMk/>
          <pc:sldMk cId="2638777451" sldId="2409"/>
        </pc:sldMkLst>
      </pc:sldChg>
      <pc:sldChg chg="ord">
        <pc:chgData name="Gao, Tianyun (SI BP FDO CON PROD)" userId="25b3c3cc-5a46-4d03-a516-a1293833cff3" providerId="ADAL" clId="{D28EE0E3-3F55-4F2A-8875-B92F1E1CCF13}" dt="2021-04-01T09:11:56.557" v="1266" actId="20578"/>
        <pc:sldMkLst>
          <pc:docMk/>
          <pc:sldMk cId="3111055162" sldId="2410"/>
        </pc:sldMkLst>
      </pc:sldChg>
      <pc:sldChg chg="ord">
        <pc:chgData name="Gao, Tianyun (SI BP FDO CON PROD)" userId="25b3c3cc-5a46-4d03-a516-a1293833cff3" providerId="ADAL" clId="{D28EE0E3-3F55-4F2A-8875-B92F1E1CCF13}" dt="2021-04-01T09:11:56.557" v="1266" actId="20578"/>
        <pc:sldMkLst>
          <pc:docMk/>
          <pc:sldMk cId="2857005650" sldId="2450"/>
        </pc:sldMkLst>
      </pc:sldChg>
      <pc:sldChg chg="addSp delSp modSp mod delAnim modAnim">
        <pc:chgData name="Gao, Tianyun (SI BP FDO CON PROD)" userId="25b3c3cc-5a46-4d03-a516-a1293833cff3" providerId="ADAL" clId="{D28EE0E3-3F55-4F2A-8875-B92F1E1CCF13}" dt="2021-03-24T10:50:19.915" v="5" actId="478"/>
        <pc:sldMkLst>
          <pc:docMk/>
          <pc:sldMk cId="3076480418" sldId="2541"/>
        </pc:sldMkLst>
        <pc:picChg chg="del">
          <ac:chgData name="Gao, Tianyun (SI BP FDO CON PROD)" userId="25b3c3cc-5a46-4d03-a516-a1293833cff3" providerId="ADAL" clId="{D28EE0E3-3F55-4F2A-8875-B92F1E1CCF13}" dt="2021-03-24T10:49:36.793" v="0" actId="478"/>
          <ac:picMkLst>
            <pc:docMk/>
            <pc:sldMk cId="3076480418" sldId="2541"/>
            <ac:picMk id="5" creationId="{DC39C27E-BDD5-45B2-9955-62DAAFC99DDF}"/>
          </ac:picMkLst>
        </pc:picChg>
        <pc:picChg chg="add del mod">
          <ac:chgData name="Gao, Tianyun (SI BP FDO CON PROD)" userId="25b3c3cc-5a46-4d03-a516-a1293833cff3" providerId="ADAL" clId="{D28EE0E3-3F55-4F2A-8875-B92F1E1CCF13}" dt="2021-03-24T10:50:19.915" v="5" actId="478"/>
          <ac:picMkLst>
            <pc:docMk/>
            <pc:sldMk cId="3076480418" sldId="2541"/>
            <ac:picMk id="8" creationId="{93219C9D-AB22-49C0-83B3-744EB2E7948E}"/>
          </ac:picMkLst>
        </pc:picChg>
      </pc:sldChg>
      <pc:sldChg chg="modSp mod">
        <pc:chgData name="Gao, Tianyun (SI BP FDO CON PROD)" userId="25b3c3cc-5a46-4d03-a516-a1293833cff3" providerId="ADAL" clId="{D28EE0E3-3F55-4F2A-8875-B92F1E1CCF13}" dt="2021-03-24T21:16:38.151" v="7" actId="20577"/>
        <pc:sldMkLst>
          <pc:docMk/>
          <pc:sldMk cId="3026962512" sldId="2566"/>
        </pc:sldMkLst>
        <pc:graphicFrameChg chg="modGraphic">
          <ac:chgData name="Gao, Tianyun (SI BP FDO CON PROD)" userId="25b3c3cc-5a46-4d03-a516-a1293833cff3" providerId="ADAL" clId="{D28EE0E3-3F55-4F2A-8875-B92F1E1CCF13}" dt="2021-03-24T21:16:38.151" v="7" actId="20577"/>
          <ac:graphicFrameMkLst>
            <pc:docMk/>
            <pc:sldMk cId="3026962512" sldId="2566"/>
            <ac:graphicFrameMk id="492" creationId="{C2AC56A2-ED59-4B03-BC8F-7FFC860B2B3D}"/>
          </ac:graphicFrameMkLst>
        </pc:graphicFrameChg>
      </pc:sldChg>
      <pc:sldChg chg="mod ord modShow">
        <pc:chgData name="Gao, Tianyun (SI BP FDO CON PROD)" userId="25b3c3cc-5a46-4d03-a516-a1293833cff3" providerId="ADAL" clId="{D28EE0E3-3F55-4F2A-8875-B92F1E1CCF13}" dt="2021-03-25T14:03:44.261" v="533" actId="729"/>
        <pc:sldMkLst>
          <pc:docMk/>
          <pc:sldMk cId="1162615204" sldId="2568"/>
        </pc:sldMkLst>
      </pc:sldChg>
      <pc:sldChg chg="addSp delSp modSp add mod">
        <pc:chgData name="Gao, Tianyun (SI BP FDO CON PROD)" userId="25b3c3cc-5a46-4d03-a516-a1293833cff3" providerId="ADAL" clId="{D28EE0E3-3F55-4F2A-8875-B92F1E1CCF13}" dt="2021-03-25T15:07:55.171" v="1260" actId="1076"/>
        <pc:sldMkLst>
          <pc:docMk/>
          <pc:sldMk cId="2878704115" sldId="2569"/>
        </pc:sldMkLst>
        <pc:spChg chg="del">
          <ac:chgData name="Gao, Tianyun (SI BP FDO CON PROD)" userId="25b3c3cc-5a46-4d03-a516-a1293833cff3" providerId="ADAL" clId="{D28EE0E3-3F55-4F2A-8875-B92F1E1CCF13}" dt="2021-03-25T12:50:22.338" v="40" actId="478"/>
          <ac:spMkLst>
            <pc:docMk/>
            <pc:sldMk cId="2878704115" sldId="2569"/>
            <ac:spMk id="2" creationId="{EF4B4D07-836E-4BA9-A34D-C48B253D0D06}"/>
          </ac:spMkLst>
        </pc:spChg>
        <pc:spChg chg="add mod">
          <ac:chgData name="Gao, Tianyun (SI BP FDO CON PROD)" userId="25b3c3cc-5a46-4d03-a516-a1293833cff3" providerId="ADAL" clId="{D28EE0E3-3F55-4F2A-8875-B92F1E1CCF13}" dt="2021-03-25T15:04:47.907" v="1236" actId="14100"/>
          <ac:spMkLst>
            <pc:docMk/>
            <pc:sldMk cId="2878704115" sldId="2569"/>
            <ac:spMk id="6" creationId="{E6E0A987-D2C2-4D3F-B74B-70668912FB50}"/>
          </ac:spMkLst>
        </pc:spChg>
        <pc:spChg chg="mod">
          <ac:chgData name="Gao, Tianyun (SI BP FDO CON PROD)" userId="25b3c3cc-5a46-4d03-a516-a1293833cff3" providerId="ADAL" clId="{D28EE0E3-3F55-4F2A-8875-B92F1E1CCF13}" dt="2021-03-25T12:50:20.235" v="39" actId="20577"/>
          <ac:spMkLst>
            <pc:docMk/>
            <pc:sldMk cId="2878704115" sldId="2569"/>
            <ac:spMk id="41" creationId="{ABACFB30-994A-4B20-8B0F-D485865264A8}"/>
          </ac:spMkLst>
        </pc:spChg>
        <pc:graphicFrameChg chg="del">
          <ac:chgData name="Gao, Tianyun (SI BP FDO CON PROD)" userId="25b3c3cc-5a46-4d03-a516-a1293833cff3" providerId="ADAL" clId="{D28EE0E3-3F55-4F2A-8875-B92F1E1CCF13}" dt="2021-03-25T12:50:25.091" v="41" actId="478"/>
          <ac:graphicFrameMkLst>
            <pc:docMk/>
            <pc:sldMk cId="2878704115" sldId="2569"/>
            <ac:graphicFrameMk id="3" creationId="{BF320831-E879-4E6A-810B-F485D5F4329F}"/>
          </ac:graphicFrameMkLst>
        </pc:graphicFrameChg>
        <pc:picChg chg="add mod">
          <ac:chgData name="Gao, Tianyun (SI BP FDO CON PROD)" userId="25b3c3cc-5a46-4d03-a516-a1293833cff3" providerId="ADAL" clId="{D28EE0E3-3F55-4F2A-8875-B92F1E1CCF13}" dt="2021-03-25T15:07:53.204" v="1259" actId="1076"/>
          <ac:picMkLst>
            <pc:docMk/>
            <pc:sldMk cId="2878704115" sldId="2569"/>
            <ac:picMk id="7" creationId="{D118218E-93A1-4D23-9B1E-C07DC15E2DBE}"/>
          </ac:picMkLst>
        </pc:picChg>
        <pc:picChg chg="add mod">
          <ac:chgData name="Gao, Tianyun (SI BP FDO CON PROD)" userId="25b3c3cc-5a46-4d03-a516-a1293833cff3" providerId="ADAL" clId="{D28EE0E3-3F55-4F2A-8875-B92F1E1CCF13}" dt="2021-03-25T15:07:55.171" v="1260" actId="1076"/>
          <ac:picMkLst>
            <pc:docMk/>
            <pc:sldMk cId="2878704115" sldId="2569"/>
            <ac:picMk id="8" creationId="{791F2D82-A7EF-49EC-8A8A-1C97AF8EF4BB}"/>
          </ac:picMkLst>
        </pc:picChg>
        <pc:picChg chg="add mod">
          <ac:chgData name="Gao, Tianyun (SI BP FDO CON PROD)" userId="25b3c3cc-5a46-4d03-a516-a1293833cff3" providerId="ADAL" clId="{D28EE0E3-3F55-4F2A-8875-B92F1E1CCF13}" dt="2021-03-25T15:07:41.054" v="1253" actId="1076"/>
          <ac:picMkLst>
            <pc:docMk/>
            <pc:sldMk cId="2878704115" sldId="2569"/>
            <ac:picMk id="9" creationId="{813DCB22-AE36-4FED-9DD6-029154B98DE2}"/>
          </ac:picMkLst>
        </pc:picChg>
      </pc:sldChg>
    </pc:docChg>
  </pc:docChgLst>
  <pc:docChgLst>
    <pc:chgData name="Müller, Kurt (SI BP S TSS ACD)" userId="e7e82c7e-80c6-42a5-ab71-24588885b7fe" providerId="ADAL" clId="{97A3683F-7FB2-425B-9CA4-023E247BC1C6}"/>
    <pc:docChg chg="undo custSel delSld modSld sldOrd modMainMaster modShowInfo">
      <pc:chgData name="Müller, Kurt (SI BP S TSS ACD)" userId="e7e82c7e-80c6-42a5-ab71-24588885b7fe" providerId="ADAL" clId="{97A3683F-7FB2-425B-9CA4-023E247BC1C6}" dt="2021-11-25T20:53:55.732" v="1496" actId="313"/>
      <pc:docMkLst>
        <pc:docMk/>
      </pc:docMkLst>
      <pc:sldChg chg="delSp modSp mod modShow">
        <pc:chgData name="Müller, Kurt (SI BP S TSS ACD)" userId="e7e82c7e-80c6-42a5-ab71-24588885b7fe" providerId="ADAL" clId="{97A3683F-7FB2-425B-9CA4-023E247BC1C6}" dt="2021-11-18T11:34:33.077" v="1491" actId="1076"/>
        <pc:sldMkLst>
          <pc:docMk/>
          <pc:sldMk cId="2584136636" sldId="494"/>
        </pc:sldMkLst>
        <pc:spChg chg="del">
          <ac:chgData name="Müller, Kurt (SI BP S TSS ACD)" userId="e7e82c7e-80c6-42a5-ab71-24588885b7fe" providerId="ADAL" clId="{97A3683F-7FB2-425B-9CA4-023E247BC1C6}" dt="2021-11-18T10:50:25.341" v="1459" actId="478"/>
          <ac:spMkLst>
            <pc:docMk/>
            <pc:sldMk cId="2584136636" sldId="494"/>
            <ac:spMk id="28" creationId="{3E583279-F344-4395-BD5C-D547AE652D75}"/>
          </ac:spMkLst>
        </pc:spChg>
        <pc:spChg chg="del">
          <ac:chgData name="Müller, Kurt (SI BP S TSS ACD)" userId="e7e82c7e-80c6-42a5-ab71-24588885b7fe" providerId="ADAL" clId="{97A3683F-7FB2-425B-9CA4-023E247BC1C6}" dt="2021-11-18T10:51:26.457" v="1466" actId="478"/>
          <ac:spMkLst>
            <pc:docMk/>
            <pc:sldMk cId="2584136636" sldId="494"/>
            <ac:spMk id="31" creationId="{469C9EA7-E567-477E-9801-112E9A6B4698}"/>
          </ac:spMkLst>
        </pc:spChg>
        <pc:spChg chg="mod">
          <ac:chgData name="Müller, Kurt (SI BP S TSS ACD)" userId="e7e82c7e-80c6-42a5-ab71-24588885b7fe" providerId="ADAL" clId="{97A3683F-7FB2-425B-9CA4-023E247BC1C6}" dt="2021-11-18T11:34:33.077" v="1491" actId="1076"/>
          <ac:spMkLst>
            <pc:docMk/>
            <pc:sldMk cId="2584136636" sldId="494"/>
            <ac:spMk id="6147" creationId="{0D95384E-0B5A-4E43-A938-D51CB6A56286}"/>
          </ac:spMkLst>
        </pc:spChg>
        <pc:spChg chg="mod">
          <ac:chgData name="Müller, Kurt (SI BP S TSS ACD)" userId="e7e82c7e-80c6-42a5-ab71-24588885b7fe" providerId="ADAL" clId="{97A3683F-7FB2-425B-9CA4-023E247BC1C6}" dt="2021-11-18T11:33:34.061" v="1486" actId="1076"/>
          <ac:spMkLst>
            <pc:docMk/>
            <pc:sldMk cId="2584136636" sldId="494"/>
            <ac:spMk id="6155" creationId="{12C76459-181E-4732-81A2-94A2C7F3AB47}"/>
          </ac:spMkLst>
        </pc:spChg>
        <pc:spChg chg="mod">
          <ac:chgData name="Müller, Kurt (SI BP S TSS ACD)" userId="e7e82c7e-80c6-42a5-ab71-24588885b7fe" providerId="ADAL" clId="{97A3683F-7FB2-425B-9CA4-023E247BC1C6}" dt="2021-11-18T11:33:34.061" v="1486" actId="1076"/>
          <ac:spMkLst>
            <pc:docMk/>
            <pc:sldMk cId="2584136636" sldId="494"/>
            <ac:spMk id="6163" creationId="{3DB3AF57-3B26-4815-B692-BCF49E192D1D}"/>
          </ac:spMkLst>
        </pc:spChg>
        <pc:spChg chg="mod">
          <ac:chgData name="Müller, Kurt (SI BP S TSS ACD)" userId="e7e82c7e-80c6-42a5-ab71-24588885b7fe" providerId="ADAL" clId="{97A3683F-7FB2-425B-9CA4-023E247BC1C6}" dt="2021-11-18T11:33:34.061" v="1486" actId="1076"/>
          <ac:spMkLst>
            <pc:docMk/>
            <pc:sldMk cId="2584136636" sldId="494"/>
            <ac:spMk id="6164" creationId="{F7D08C74-E1E4-41C9-A234-7766F30B0843}"/>
          </ac:spMkLst>
        </pc:spChg>
        <pc:spChg chg="mod">
          <ac:chgData name="Müller, Kurt (SI BP S TSS ACD)" userId="e7e82c7e-80c6-42a5-ab71-24588885b7fe" providerId="ADAL" clId="{97A3683F-7FB2-425B-9CA4-023E247BC1C6}" dt="2021-11-18T11:33:34.061" v="1486" actId="1076"/>
          <ac:spMkLst>
            <pc:docMk/>
            <pc:sldMk cId="2584136636" sldId="494"/>
            <ac:spMk id="6165" creationId="{4444CFD0-B195-4F41-AEAD-87E39ECC3D17}"/>
          </ac:spMkLst>
        </pc:spChg>
        <pc:spChg chg="mod">
          <ac:chgData name="Müller, Kurt (SI BP S TSS ACD)" userId="e7e82c7e-80c6-42a5-ab71-24588885b7fe" providerId="ADAL" clId="{97A3683F-7FB2-425B-9CA4-023E247BC1C6}" dt="2021-11-18T11:33:34.061" v="1486" actId="1076"/>
          <ac:spMkLst>
            <pc:docMk/>
            <pc:sldMk cId="2584136636" sldId="494"/>
            <ac:spMk id="6166" creationId="{17E8650C-D5FD-4740-A954-6C72F25DECF9}"/>
          </ac:spMkLst>
        </pc:spChg>
        <pc:spChg chg="mod">
          <ac:chgData name="Müller, Kurt (SI BP S TSS ACD)" userId="e7e82c7e-80c6-42a5-ab71-24588885b7fe" providerId="ADAL" clId="{97A3683F-7FB2-425B-9CA4-023E247BC1C6}" dt="2021-11-18T11:33:34.061" v="1486" actId="1076"/>
          <ac:spMkLst>
            <pc:docMk/>
            <pc:sldMk cId="2584136636" sldId="494"/>
            <ac:spMk id="6167" creationId="{C7035FC3-7126-48E9-87D3-9FA7532CFF40}"/>
          </ac:spMkLst>
        </pc:spChg>
        <pc:spChg chg="mod">
          <ac:chgData name="Müller, Kurt (SI BP S TSS ACD)" userId="e7e82c7e-80c6-42a5-ab71-24588885b7fe" providerId="ADAL" clId="{97A3683F-7FB2-425B-9CA4-023E247BC1C6}" dt="2021-11-18T11:33:34.061" v="1486" actId="1076"/>
          <ac:spMkLst>
            <pc:docMk/>
            <pc:sldMk cId="2584136636" sldId="494"/>
            <ac:spMk id="6168" creationId="{6E8C58BE-E5FA-4B40-A5D2-766CB8C08DEB}"/>
          </ac:spMkLst>
        </pc:spChg>
        <pc:spChg chg="mod">
          <ac:chgData name="Müller, Kurt (SI BP S TSS ACD)" userId="e7e82c7e-80c6-42a5-ab71-24588885b7fe" providerId="ADAL" clId="{97A3683F-7FB2-425B-9CA4-023E247BC1C6}" dt="2021-11-18T11:33:34.061" v="1486" actId="1076"/>
          <ac:spMkLst>
            <pc:docMk/>
            <pc:sldMk cId="2584136636" sldId="494"/>
            <ac:spMk id="6169" creationId="{B9E800A4-0B8E-4BC4-B99E-DF05B8B76B2F}"/>
          </ac:spMkLst>
        </pc:spChg>
        <pc:spChg chg="mod">
          <ac:chgData name="Müller, Kurt (SI BP S TSS ACD)" userId="e7e82c7e-80c6-42a5-ab71-24588885b7fe" providerId="ADAL" clId="{97A3683F-7FB2-425B-9CA4-023E247BC1C6}" dt="2021-11-18T11:33:34.061" v="1486" actId="1076"/>
          <ac:spMkLst>
            <pc:docMk/>
            <pc:sldMk cId="2584136636" sldId="494"/>
            <ac:spMk id="6170" creationId="{63E5DEDA-A3B8-4CB7-A451-E05CA30FF0B5}"/>
          </ac:spMkLst>
        </pc:spChg>
        <pc:grpChg chg="mod">
          <ac:chgData name="Müller, Kurt (SI BP S TSS ACD)" userId="e7e82c7e-80c6-42a5-ab71-24588885b7fe" providerId="ADAL" clId="{97A3683F-7FB2-425B-9CA4-023E247BC1C6}" dt="2021-11-18T11:33:34.061" v="1486" actId="1076"/>
          <ac:grpSpMkLst>
            <pc:docMk/>
            <pc:sldMk cId="2584136636" sldId="494"/>
            <ac:grpSpMk id="6151" creationId="{AF87CEEE-4E93-424D-B5FE-33DC21895A1B}"/>
          </ac:grpSpMkLst>
        </pc:grpChg>
        <pc:grpChg chg="mod">
          <ac:chgData name="Müller, Kurt (SI BP S TSS ACD)" userId="e7e82c7e-80c6-42a5-ab71-24588885b7fe" providerId="ADAL" clId="{97A3683F-7FB2-425B-9CA4-023E247BC1C6}" dt="2021-11-18T11:33:34.061" v="1486" actId="1076"/>
          <ac:grpSpMkLst>
            <pc:docMk/>
            <pc:sldMk cId="2584136636" sldId="494"/>
            <ac:grpSpMk id="6154" creationId="{7208029E-84E6-435A-BFAA-B15F074876D7}"/>
          </ac:grpSpMkLst>
        </pc:grpChg>
        <pc:grpChg chg="mod">
          <ac:chgData name="Müller, Kurt (SI BP S TSS ACD)" userId="e7e82c7e-80c6-42a5-ab71-24588885b7fe" providerId="ADAL" clId="{97A3683F-7FB2-425B-9CA4-023E247BC1C6}" dt="2021-11-18T11:33:34.061" v="1486" actId="1076"/>
          <ac:grpSpMkLst>
            <pc:docMk/>
            <pc:sldMk cId="2584136636" sldId="494"/>
            <ac:grpSpMk id="6156" creationId="{E5C9CC11-41B1-434B-BE58-F2A0148A59AC}"/>
          </ac:grpSpMkLst>
        </pc:grpChg>
        <pc:grpChg chg="mod">
          <ac:chgData name="Müller, Kurt (SI BP S TSS ACD)" userId="e7e82c7e-80c6-42a5-ab71-24588885b7fe" providerId="ADAL" clId="{97A3683F-7FB2-425B-9CA4-023E247BC1C6}" dt="2021-11-18T11:33:34.061" v="1486" actId="1076"/>
          <ac:grpSpMkLst>
            <pc:docMk/>
            <pc:sldMk cId="2584136636" sldId="494"/>
            <ac:grpSpMk id="6158" creationId="{560EBA98-33AF-435D-9FEC-48527E86F091}"/>
          </ac:grpSpMkLst>
        </pc:grpChg>
        <pc:grpChg chg="mod">
          <ac:chgData name="Müller, Kurt (SI BP S TSS ACD)" userId="e7e82c7e-80c6-42a5-ab71-24588885b7fe" providerId="ADAL" clId="{97A3683F-7FB2-425B-9CA4-023E247BC1C6}" dt="2021-11-18T11:33:34.061" v="1486" actId="1076"/>
          <ac:grpSpMkLst>
            <pc:docMk/>
            <pc:sldMk cId="2584136636" sldId="494"/>
            <ac:grpSpMk id="6159" creationId="{C9968FDC-67F7-48DD-A6C7-A96056EC2348}"/>
          </ac:grpSpMkLst>
        </pc:grpChg>
        <pc:grpChg chg="mod">
          <ac:chgData name="Müller, Kurt (SI BP S TSS ACD)" userId="e7e82c7e-80c6-42a5-ab71-24588885b7fe" providerId="ADAL" clId="{97A3683F-7FB2-425B-9CA4-023E247BC1C6}" dt="2021-11-18T11:33:34.061" v="1486" actId="1076"/>
          <ac:grpSpMkLst>
            <pc:docMk/>
            <pc:sldMk cId="2584136636" sldId="494"/>
            <ac:grpSpMk id="6160" creationId="{C4A68E36-B297-4FC8-B1A0-C4318D5815AF}"/>
          </ac:grpSpMkLst>
        </pc:grpChg>
        <pc:picChg chg="mod">
          <ac:chgData name="Müller, Kurt (SI BP S TSS ACD)" userId="e7e82c7e-80c6-42a5-ab71-24588885b7fe" providerId="ADAL" clId="{97A3683F-7FB2-425B-9CA4-023E247BC1C6}" dt="2021-11-18T11:33:26.052" v="1485" actId="1076"/>
          <ac:picMkLst>
            <pc:docMk/>
            <pc:sldMk cId="2584136636" sldId="494"/>
            <ac:picMk id="6152" creationId="{C7772B31-7BA2-4087-BE72-1C3DBD3CE928}"/>
          </ac:picMkLst>
        </pc:picChg>
        <pc:picChg chg="mod">
          <ac:chgData name="Müller, Kurt (SI BP S TSS ACD)" userId="e7e82c7e-80c6-42a5-ab71-24588885b7fe" providerId="ADAL" clId="{97A3683F-7FB2-425B-9CA4-023E247BC1C6}" dt="2021-11-18T11:33:46.325" v="1490" actId="14100"/>
          <ac:picMkLst>
            <pc:docMk/>
            <pc:sldMk cId="2584136636" sldId="494"/>
            <ac:picMk id="6153" creationId="{8A946C02-0498-459B-A157-B3A57811037D}"/>
          </ac:picMkLst>
        </pc:picChg>
        <pc:cxnChg chg="mod">
          <ac:chgData name="Müller, Kurt (SI BP S TSS ACD)" userId="e7e82c7e-80c6-42a5-ab71-24588885b7fe" providerId="ADAL" clId="{97A3683F-7FB2-425B-9CA4-023E247BC1C6}" dt="2021-11-18T11:33:34.061" v="1486" actId="1076"/>
          <ac:cxnSpMkLst>
            <pc:docMk/>
            <pc:sldMk cId="2584136636" sldId="494"/>
            <ac:cxnSpMk id="6157" creationId="{1328BB37-6263-4DEB-BC85-87CC9E2E948F}"/>
          </ac:cxnSpMkLst>
        </pc:cxnChg>
        <pc:cxnChg chg="mod">
          <ac:chgData name="Müller, Kurt (SI BP S TSS ACD)" userId="e7e82c7e-80c6-42a5-ab71-24588885b7fe" providerId="ADAL" clId="{97A3683F-7FB2-425B-9CA4-023E247BC1C6}" dt="2021-11-18T11:33:34.061" v="1486" actId="1076"/>
          <ac:cxnSpMkLst>
            <pc:docMk/>
            <pc:sldMk cId="2584136636" sldId="494"/>
            <ac:cxnSpMk id="6161" creationId="{3B2DAC9B-80FF-4510-91CB-A3AB698FC659}"/>
          </ac:cxnSpMkLst>
        </pc:cxnChg>
        <pc:cxnChg chg="mod">
          <ac:chgData name="Müller, Kurt (SI BP S TSS ACD)" userId="e7e82c7e-80c6-42a5-ab71-24588885b7fe" providerId="ADAL" clId="{97A3683F-7FB2-425B-9CA4-023E247BC1C6}" dt="2021-11-18T11:33:34.061" v="1486" actId="1076"/>
          <ac:cxnSpMkLst>
            <pc:docMk/>
            <pc:sldMk cId="2584136636" sldId="494"/>
            <ac:cxnSpMk id="6162" creationId="{B98A1A25-26F5-43D7-89CD-2EDFD948B354}"/>
          </ac:cxnSpMkLst>
        </pc:cxnChg>
      </pc:sldChg>
      <pc:sldChg chg="delSp modSp mod modShow">
        <pc:chgData name="Müller, Kurt (SI BP S TSS ACD)" userId="e7e82c7e-80c6-42a5-ab71-24588885b7fe" providerId="ADAL" clId="{97A3683F-7FB2-425B-9CA4-023E247BC1C6}" dt="2021-11-18T11:32:59.549" v="1483" actId="1076"/>
        <pc:sldMkLst>
          <pc:docMk/>
          <pc:sldMk cId="1976342356" sldId="499"/>
        </pc:sldMkLst>
        <pc:spChg chg="del">
          <ac:chgData name="Müller, Kurt (SI BP S TSS ACD)" userId="e7e82c7e-80c6-42a5-ab71-24588885b7fe" providerId="ADAL" clId="{97A3683F-7FB2-425B-9CA4-023E247BC1C6}" dt="2021-11-18T10:50:51.830" v="1462" actId="478"/>
          <ac:spMkLst>
            <pc:docMk/>
            <pc:sldMk cId="1976342356" sldId="499"/>
            <ac:spMk id="11" creationId="{CCD1EE3A-1D94-4696-8B43-4A2A62B433E3}"/>
          </ac:spMkLst>
        </pc:spChg>
        <pc:spChg chg="del mod">
          <ac:chgData name="Müller, Kurt (SI BP S TSS ACD)" userId="e7e82c7e-80c6-42a5-ab71-24588885b7fe" providerId="ADAL" clId="{97A3683F-7FB2-425B-9CA4-023E247BC1C6}" dt="2021-11-18T11:31:44.875" v="1474" actId="478"/>
          <ac:spMkLst>
            <pc:docMk/>
            <pc:sldMk cId="1976342356" sldId="499"/>
            <ac:spMk id="12" creationId="{FE9223A2-1E8C-40E7-A2B7-2123E42A0FCB}"/>
          </ac:spMkLst>
        </pc:spChg>
        <pc:spChg chg="del">
          <ac:chgData name="Müller, Kurt (SI BP S TSS ACD)" userId="e7e82c7e-80c6-42a5-ab71-24588885b7fe" providerId="ADAL" clId="{97A3683F-7FB2-425B-9CA4-023E247BC1C6}" dt="2021-11-18T10:51:23.681" v="1465" actId="478"/>
          <ac:spMkLst>
            <pc:docMk/>
            <pc:sldMk cId="1976342356" sldId="499"/>
            <ac:spMk id="14" creationId="{D712DD59-2DE0-4400-BFC5-AE58F0DD638D}"/>
          </ac:spMkLst>
        </pc:spChg>
        <pc:spChg chg="del">
          <ac:chgData name="Müller, Kurt (SI BP S TSS ACD)" userId="e7e82c7e-80c6-42a5-ab71-24588885b7fe" providerId="ADAL" clId="{97A3683F-7FB2-425B-9CA4-023E247BC1C6}" dt="2021-11-18T10:50:55.356" v="1463" actId="478"/>
          <ac:spMkLst>
            <pc:docMk/>
            <pc:sldMk cId="1976342356" sldId="499"/>
            <ac:spMk id="5125" creationId="{53E389E3-835D-4995-B3D4-E14433539A6C}"/>
          </ac:spMkLst>
        </pc:spChg>
        <pc:spChg chg="mod">
          <ac:chgData name="Müller, Kurt (SI BP S TSS ACD)" userId="e7e82c7e-80c6-42a5-ab71-24588885b7fe" providerId="ADAL" clId="{97A3683F-7FB2-425B-9CA4-023E247BC1C6}" dt="2021-11-18T11:32:59.549" v="1483" actId="1076"/>
          <ac:spMkLst>
            <pc:docMk/>
            <pc:sldMk cId="1976342356" sldId="499"/>
            <ac:spMk id="5126" creationId="{FE131B05-8E4E-4D5B-AFC5-636C8FC59EFF}"/>
          </ac:spMkLst>
        </pc:spChg>
        <pc:spChg chg="mod">
          <ac:chgData name="Müller, Kurt (SI BP S TSS ACD)" userId="e7e82c7e-80c6-42a5-ab71-24588885b7fe" providerId="ADAL" clId="{97A3683F-7FB2-425B-9CA4-023E247BC1C6}" dt="2021-11-18T11:32:54.199" v="1482" actId="120"/>
          <ac:spMkLst>
            <pc:docMk/>
            <pc:sldMk cId="1976342356" sldId="499"/>
            <ac:spMk id="5128" creationId="{8AD68ABE-0FA3-408C-9F2F-F7E5BA60A298}"/>
          </ac:spMkLst>
        </pc:spChg>
        <pc:spChg chg="mod">
          <ac:chgData name="Müller, Kurt (SI BP S TSS ACD)" userId="e7e82c7e-80c6-42a5-ab71-24588885b7fe" providerId="ADAL" clId="{97A3683F-7FB2-425B-9CA4-023E247BC1C6}" dt="2021-11-18T11:32:06.085" v="1479" actId="1076"/>
          <ac:spMkLst>
            <pc:docMk/>
            <pc:sldMk cId="1976342356" sldId="499"/>
            <ac:spMk id="5129" creationId="{C83BE3F8-AC7B-4966-ABF2-E180EA09C4ED}"/>
          </ac:spMkLst>
        </pc:spChg>
        <pc:picChg chg="mod">
          <ac:chgData name="Müller, Kurt (SI BP S TSS ACD)" userId="e7e82c7e-80c6-42a5-ab71-24588885b7fe" providerId="ADAL" clId="{97A3683F-7FB2-425B-9CA4-023E247BC1C6}" dt="2021-11-18T11:31:59.221" v="1477" actId="14100"/>
          <ac:picMkLst>
            <pc:docMk/>
            <pc:sldMk cId="1976342356" sldId="499"/>
            <ac:picMk id="5127" creationId="{5DC19DFF-2860-473D-9ABF-8C291689087D}"/>
          </ac:picMkLst>
        </pc:picChg>
      </pc:sldChg>
      <pc:sldChg chg="del">
        <pc:chgData name="Müller, Kurt (SI BP S TSS ACD)" userId="e7e82c7e-80c6-42a5-ab71-24588885b7fe" providerId="ADAL" clId="{97A3683F-7FB2-425B-9CA4-023E247BC1C6}" dt="2021-11-18T10:49:59.135" v="1454" actId="47"/>
        <pc:sldMkLst>
          <pc:docMk/>
          <pc:sldMk cId="3281152742" sldId="2453"/>
        </pc:sldMkLst>
      </pc:sldChg>
      <pc:sldChg chg="delSp modSp mod">
        <pc:chgData name="Müller, Kurt (SI BP S TSS ACD)" userId="e7e82c7e-80c6-42a5-ab71-24588885b7fe" providerId="ADAL" clId="{97A3683F-7FB2-425B-9CA4-023E247BC1C6}" dt="2021-11-18T14:21:14.481" v="1493" actId="478"/>
        <pc:sldMkLst>
          <pc:docMk/>
          <pc:sldMk cId="1060112155" sldId="2462"/>
        </pc:sldMkLst>
        <pc:spChg chg="mod">
          <ac:chgData name="Müller, Kurt (SI BP S TSS ACD)" userId="e7e82c7e-80c6-42a5-ab71-24588885b7fe" providerId="ADAL" clId="{97A3683F-7FB2-425B-9CA4-023E247BC1C6}" dt="2021-11-18T14:18:44.196" v="1492" actId="13926"/>
          <ac:spMkLst>
            <pc:docMk/>
            <pc:sldMk cId="1060112155" sldId="2462"/>
            <ac:spMk id="3" creationId="{1D880FF0-D7A2-436F-8597-A36DC7EBB2F8}"/>
          </ac:spMkLst>
        </pc:spChg>
        <pc:picChg chg="del">
          <ac:chgData name="Müller, Kurt (SI BP S TSS ACD)" userId="e7e82c7e-80c6-42a5-ab71-24588885b7fe" providerId="ADAL" clId="{97A3683F-7FB2-425B-9CA4-023E247BC1C6}" dt="2021-11-18T14:21:14.481" v="1493" actId="478"/>
          <ac:picMkLst>
            <pc:docMk/>
            <pc:sldMk cId="1060112155" sldId="2462"/>
            <ac:picMk id="45" creationId="{7CBDA334-33D9-4688-8C03-2D7F6CD3A2EC}"/>
          </ac:picMkLst>
        </pc:picChg>
        <pc:picChg chg="del">
          <ac:chgData name="Müller, Kurt (SI BP S TSS ACD)" userId="e7e82c7e-80c6-42a5-ab71-24588885b7fe" providerId="ADAL" clId="{97A3683F-7FB2-425B-9CA4-023E247BC1C6}" dt="2021-11-18T14:21:14.481" v="1493" actId="478"/>
          <ac:picMkLst>
            <pc:docMk/>
            <pc:sldMk cId="1060112155" sldId="2462"/>
            <ac:picMk id="46" creationId="{2A7D1D27-1512-4125-9B78-C5A2E57AB93A}"/>
          </ac:picMkLst>
        </pc:picChg>
        <pc:picChg chg="del">
          <ac:chgData name="Müller, Kurt (SI BP S TSS ACD)" userId="e7e82c7e-80c6-42a5-ab71-24588885b7fe" providerId="ADAL" clId="{97A3683F-7FB2-425B-9CA4-023E247BC1C6}" dt="2021-11-18T14:21:14.481" v="1493" actId="478"/>
          <ac:picMkLst>
            <pc:docMk/>
            <pc:sldMk cId="1060112155" sldId="2462"/>
            <ac:picMk id="47" creationId="{B6C060B0-345D-493A-B99C-CEDF1DFD97B0}"/>
          </ac:picMkLst>
        </pc:picChg>
        <pc:picChg chg="del">
          <ac:chgData name="Müller, Kurt (SI BP S TSS ACD)" userId="e7e82c7e-80c6-42a5-ab71-24588885b7fe" providerId="ADAL" clId="{97A3683F-7FB2-425B-9CA4-023E247BC1C6}" dt="2021-11-18T14:21:14.481" v="1493" actId="478"/>
          <ac:picMkLst>
            <pc:docMk/>
            <pc:sldMk cId="1060112155" sldId="2462"/>
            <ac:picMk id="84" creationId="{0C6492CA-CE9F-46D4-8842-C8E11BEC0047}"/>
          </ac:picMkLst>
        </pc:picChg>
        <pc:picChg chg="del">
          <ac:chgData name="Müller, Kurt (SI BP S TSS ACD)" userId="e7e82c7e-80c6-42a5-ab71-24588885b7fe" providerId="ADAL" clId="{97A3683F-7FB2-425B-9CA4-023E247BC1C6}" dt="2021-11-18T14:21:14.481" v="1493" actId="478"/>
          <ac:picMkLst>
            <pc:docMk/>
            <pc:sldMk cId="1060112155" sldId="2462"/>
            <ac:picMk id="85" creationId="{99C0B062-EAAE-4B10-B791-B066B8DDB44A}"/>
          </ac:picMkLst>
        </pc:picChg>
        <pc:picChg chg="del">
          <ac:chgData name="Müller, Kurt (SI BP S TSS ACD)" userId="e7e82c7e-80c6-42a5-ab71-24588885b7fe" providerId="ADAL" clId="{97A3683F-7FB2-425B-9CA4-023E247BC1C6}" dt="2021-11-18T14:21:14.481" v="1493" actId="478"/>
          <ac:picMkLst>
            <pc:docMk/>
            <pc:sldMk cId="1060112155" sldId="2462"/>
            <ac:picMk id="86" creationId="{4A1AD735-F37E-4D59-B5E2-75555A4E6908}"/>
          </ac:picMkLst>
        </pc:picChg>
        <pc:picChg chg="del">
          <ac:chgData name="Müller, Kurt (SI BP S TSS ACD)" userId="e7e82c7e-80c6-42a5-ab71-24588885b7fe" providerId="ADAL" clId="{97A3683F-7FB2-425B-9CA4-023E247BC1C6}" dt="2021-11-18T14:21:14.481" v="1493" actId="478"/>
          <ac:picMkLst>
            <pc:docMk/>
            <pc:sldMk cId="1060112155" sldId="2462"/>
            <ac:picMk id="87" creationId="{B0E2CCD0-716C-4BF0-B263-DD99FB84D63F}"/>
          </ac:picMkLst>
        </pc:picChg>
        <pc:picChg chg="del">
          <ac:chgData name="Müller, Kurt (SI BP S TSS ACD)" userId="e7e82c7e-80c6-42a5-ab71-24588885b7fe" providerId="ADAL" clId="{97A3683F-7FB2-425B-9CA4-023E247BC1C6}" dt="2021-11-18T14:21:14.481" v="1493" actId="478"/>
          <ac:picMkLst>
            <pc:docMk/>
            <pc:sldMk cId="1060112155" sldId="2462"/>
            <ac:picMk id="88" creationId="{073D9E4B-D738-456D-ACDE-4B9E92C13235}"/>
          </ac:picMkLst>
        </pc:picChg>
        <pc:picChg chg="del">
          <ac:chgData name="Müller, Kurt (SI BP S TSS ACD)" userId="e7e82c7e-80c6-42a5-ab71-24588885b7fe" providerId="ADAL" clId="{97A3683F-7FB2-425B-9CA4-023E247BC1C6}" dt="2021-11-18T14:21:14.481" v="1493" actId="478"/>
          <ac:picMkLst>
            <pc:docMk/>
            <pc:sldMk cId="1060112155" sldId="2462"/>
            <ac:picMk id="89" creationId="{FCC84F92-CF4F-4080-BDD5-F150CD380E8E}"/>
          </ac:picMkLst>
        </pc:picChg>
        <pc:picChg chg="del">
          <ac:chgData name="Müller, Kurt (SI BP S TSS ACD)" userId="e7e82c7e-80c6-42a5-ab71-24588885b7fe" providerId="ADAL" clId="{97A3683F-7FB2-425B-9CA4-023E247BC1C6}" dt="2021-11-18T14:21:14.481" v="1493" actId="478"/>
          <ac:picMkLst>
            <pc:docMk/>
            <pc:sldMk cId="1060112155" sldId="2462"/>
            <ac:picMk id="90" creationId="{AAB80E05-2347-4EEB-8E65-B7C641AF9C3A}"/>
          </ac:picMkLst>
        </pc:picChg>
        <pc:picChg chg="del">
          <ac:chgData name="Müller, Kurt (SI BP S TSS ACD)" userId="e7e82c7e-80c6-42a5-ab71-24588885b7fe" providerId="ADAL" clId="{97A3683F-7FB2-425B-9CA4-023E247BC1C6}" dt="2021-11-18T14:21:14.481" v="1493" actId="478"/>
          <ac:picMkLst>
            <pc:docMk/>
            <pc:sldMk cId="1060112155" sldId="2462"/>
            <ac:picMk id="91" creationId="{946EC71A-89CB-4F22-9774-64931901FB52}"/>
          </ac:picMkLst>
        </pc:picChg>
        <pc:picChg chg="del">
          <ac:chgData name="Müller, Kurt (SI BP S TSS ACD)" userId="e7e82c7e-80c6-42a5-ab71-24588885b7fe" providerId="ADAL" clId="{97A3683F-7FB2-425B-9CA4-023E247BC1C6}" dt="2021-11-18T14:21:14.481" v="1493" actId="478"/>
          <ac:picMkLst>
            <pc:docMk/>
            <pc:sldMk cId="1060112155" sldId="2462"/>
            <ac:picMk id="92" creationId="{0D444BAE-FB12-4ABD-8E0F-37A59476C265}"/>
          </ac:picMkLst>
        </pc:picChg>
        <pc:picChg chg="del">
          <ac:chgData name="Müller, Kurt (SI BP S TSS ACD)" userId="e7e82c7e-80c6-42a5-ab71-24588885b7fe" providerId="ADAL" clId="{97A3683F-7FB2-425B-9CA4-023E247BC1C6}" dt="2021-11-18T14:21:14.481" v="1493" actId="478"/>
          <ac:picMkLst>
            <pc:docMk/>
            <pc:sldMk cId="1060112155" sldId="2462"/>
            <ac:picMk id="93" creationId="{074C80EE-1039-4A70-8360-5E4F828B43D8}"/>
          </ac:picMkLst>
        </pc:picChg>
        <pc:picChg chg="del">
          <ac:chgData name="Müller, Kurt (SI BP S TSS ACD)" userId="e7e82c7e-80c6-42a5-ab71-24588885b7fe" providerId="ADAL" clId="{97A3683F-7FB2-425B-9CA4-023E247BC1C6}" dt="2021-11-18T14:21:14.481" v="1493" actId="478"/>
          <ac:picMkLst>
            <pc:docMk/>
            <pc:sldMk cId="1060112155" sldId="2462"/>
            <ac:picMk id="94" creationId="{A150351D-3C02-4552-9DA5-5FE762896A04}"/>
          </ac:picMkLst>
        </pc:picChg>
        <pc:picChg chg="del">
          <ac:chgData name="Müller, Kurt (SI BP S TSS ACD)" userId="e7e82c7e-80c6-42a5-ab71-24588885b7fe" providerId="ADAL" clId="{97A3683F-7FB2-425B-9CA4-023E247BC1C6}" dt="2021-11-18T14:21:14.481" v="1493" actId="478"/>
          <ac:picMkLst>
            <pc:docMk/>
            <pc:sldMk cId="1060112155" sldId="2462"/>
            <ac:picMk id="95" creationId="{E0256513-082B-42FB-B7AC-625FEC825508}"/>
          </ac:picMkLst>
        </pc:picChg>
        <pc:picChg chg="del">
          <ac:chgData name="Müller, Kurt (SI BP S TSS ACD)" userId="e7e82c7e-80c6-42a5-ab71-24588885b7fe" providerId="ADAL" clId="{97A3683F-7FB2-425B-9CA4-023E247BC1C6}" dt="2021-11-18T14:21:14.481" v="1493" actId="478"/>
          <ac:picMkLst>
            <pc:docMk/>
            <pc:sldMk cId="1060112155" sldId="2462"/>
            <ac:picMk id="96" creationId="{ACCD3471-9544-4313-A391-65B31A36852A}"/>
          </ac:picMkLst>
        </pc:picChg>
        <pc:picChg chg="del">
          <ac:chgData name="Müller, Kurt (SI BP S TSS ACD)" userId="e7e82c7e-80c6-42a5-ab71-24588885b7fe" providerId="ADAL" clId="{97A3683F-7FB2-425B-9CA4-023E247BC1C6}" dt="2021-11-18T14:21:14.481" v="1493" actId="478"/>
          <ac:picMkLst>
            <pc:docMk/>
            <pc:sldMk cId="1060112155" sldId="2462"/>
            <ac:picMk id="97" creationId="{E990E287-1A42-43E2-A6C2-316AED7CD0E2}"/>
          </ac:picMkLst>
        </pc:picChg>
        <pc:picChg chg="del">
          <ac:chgData name="Müller, Kurt (SI BP S TSS ACD)" userId="e7e82c7e-80c6-42a5-ab71-24588885b7fe" providerId="ADAL" clId="{97A3683F-7FB2-425B-9CA4-023E247BC1C6}" dt="2021-11-18T14:21:14.481" v="1493" actId="478"/>
          <ac:picMkLst>
            <pc:docMk/>
            <pc:sldMk cId="1060112155" sldId="2462"/>
            <ac:picMk id="98" creationId="{582D5826-9E92-4043-87CB-EAD0B8B21FDD}"/>
          </ac:picMkLst>
        </pc:picChg>
        <pc:picChg chg="del">
          <ac:chgData name="Müller, Kurt (SI BP S TSS ACD)" userId="e7e82c7e-80c6-42a5-ab71-24588885b7fe" providerId="ADAL" clId="{97A3683F-7FB2-425B-9CA4-023E247BC1C6}" dt="2021-11-18T14:21:14.481" v="1493" actId="478"/>
          <ac:picMkLst>
            <pc:docMk/>
            <pc:sldMk cId="1060112155" sldId="2462"/>
            <ac:picMk id="99" creationId="{7C2BBAA6-8EB7-48D3-9208-FF8ECDCD2459}"/>
          </ac:picMkLst>
        </pc:picChg>
        <pc:picChg chg="del">
          <ac:chgData name="Müller, Kurt (SI BP S TSS ACD)" userId="e7e82c7e-80c6-42a5-ab71-24588885b7fe" providerId="ADAL" clId="{97A3683F-7FB2-425B-9CA4-023E247BC1C6}" dt="2021-11-18T14:21:14.481" v="1493" actId="478"/>
          <ac:picMkLst>
            <pc:docMk/>
            <pc:sldMk cId="1060112155" sldId="2462"/>
            <ac:picMk id="100" creationId="{D5302F57-4110-4FCB-9D96-CC7E6FA318BA}"/>
          </ac:picMkLst>
        </pc:picChg>
        <pc:picChg chg="del">
          <ac:chgData name="Müller, Kurt (SI BP S TSS ACD)" userId="e7e82c7e-80c6-42a5-ab71-24588885b7fe" providerId="ADAL" clId="{97A3683F-7FB2-425B-9CA4-023E247BC1C6}" dt="2021-11-18T14:21:14.481" v="1493" actId="478"/>
          <ac:picMkLst>
            <pc:docMk/>
            <pc:sldMk cId="1060112155" sldId="2462"/>
            <ac:picMk id="101" creationId="{8BD355AF-CC07-4FCF-8804-B7DBBD6BC0C5}"/>
          </ac:picMkLst>
        </pc:picChg>
        <pc:picChg chg="del">
          <ac:chgData name="Müller, Kurt (SI BP S TSS ACD)" userId="e7e82c7e-80c6-42a5-ab71-24588885b7fe" providerId="ADAL" clId="{97A3683F-7FB2-425B-9CA4-023E247BC1C6}" dt="2021-11-18T14:21:14.481" v="1493" actId="478"/>
          <ac:picMkLst>
            <pc:docMk/>
            <pc:sldMk cId="1060112155" sldId="2462"/>
            <ac:picMk id="102" creationId="{C5692BC2-9119-444A-B5ED-4845EAC1C030}"/>
          </ac:picMkLst>
        </pc:picChg>
        <pc:picChg chg="del">
          <ac:chgData name="Müller, Kurt (SI BP S TSS ACD)" userId="e7e82c7e-80c6-42a5-ab71-24588885b7fe" providerId="ADAL" clId="{97A3683F-7FB2-425B-9CA4-023E247BC1C6}" dt="2021-11-18T14:21:14.481" v="1493" actId="478"/>
          <ac:picMkLst>
            <pc:docMk/>
            <pc:sldMk cId="1060112155" sldId="2462"/>
            <ac:picMk id="103" creationId="{00C3E6B4-D119-452B-B1ED-374021F22AA8}"/>
          </ac:picMkLst>
        </pc:picChg>
        <pc:picChg chg="del">
          <ac:chgData name="Müller, Kurt (SI BP S TSS ACD)" userId="e7e82c7e-80c6-42a5-ab71-24588885b7fe" providerId="ADAL" clId="{97A3683F-7FB2-425B-9CA4-023E247BC1C6}" dt="2021-11-18T14:21:14.481" v="1493" actId="478"/>
          <ac:picMkLst>
            <pc:docMk/>
            <pc:sldMk cId="1060112155" sldId="2462"/>
            <ac:picMk id="104" creationId="{139DD893-06ED-4DED-A670-E757D7101391}"/>
          </ac:picMkLst>
        </pc:picChg>
      </pc:sldChg>
      <pc:sldChg chg="delSp modSp mod modShow">
        <pc:chgData name="Müller, Kurt (SI BP S TSS ACD)" userId="e7e82c7e-80c6-42a5-ab71-24588885b7fe" providerId="ADAL" clId="{97A3683F-7FB2-425B-9CA4-023E247BC1C6}" dt="2021-11-18T11:31:22.037" v="1472" actId="1076"/>
        <pc:sldMkLst>
          <pc:docMk/>
          <pc:sldMk cId="0" sldId="2467"/>
        </pc:sldMkLst>
        <pc:spChg chg="del">
          <ac:chgData name="Müller, Kurt (SI BP S TSS ACD)" userId="e7e82c7e-80c6-42a5-ab71-24588885b7fe" providerId="ADAL" clId="{97A3683F-7FB2-425B-9CA4-023E247BC1C6}" dt="2021-11-18T10:51:29.750" v="1467" actId="478"/>
          <ac:spMkLst>
            <pc:docMk/>
            <pc:sldMk cId="0" sldId="2467"/>
            <ac:spMk id="8" creationId="{CC5C9DBD-F913-4934-99D8-855E1872E8D0}"/>
          </ac:spMkLst>
        </pc:spChg>
        <pc:spChg chg="del">
          <ac:chgData name="Müller, Kurt (SI BP S TSS ACD)" userId="e7e82c7e-80c6-42a5-ab71-24588885b7fe" providerId="ADAL" clId="{97A3683F-7FB2-425B-9CA4-023E247BC1C6}" dt="2021-11-18T10:50:22.965" v="1458" actId="478"/>
          <ac:spMkLst>
            <pc:docMk/>
            <pc:sldMk cId="0" sldId="2467"/>
            <ac:spMk id="10" creationId="{3880A2B0-191E-4B94-8C62-A41500343339}"/>
          </ac:spMkLst>
        </pc:spChg>
        <pc:spChg chg="del">
          <ac:chgData name="Müller, Kurt (SI BP S TSS ACD)" userId="e7e82c7e-80c6-42a5-ab71-24588885b7fe" providerId="ADAL" clId="{97A3683F-7FB2-425B-9CA4-023E247BC1C6}" dt="2021-11-18T10:51:00.716" v="1464" actId="478"/>
          <ac:spMkLst>
            <pc:docMk/>
            <pc:sldMk cId="0" sldId="2467"/>
            <ac:spMk id="9221" creationId="{D45092A6-F0D9-4CCD-9834-A8CBECD6BCF7}"/>
          </ac:spMkLst>
        </pc:spChg>
        <pc:spChg chg="mod">
          <ac:chgData name="Müller, Kurt (SI BP S TSS ACD)" userId="e7e82c7e-80c6-42a5-ab71-24588885b7fe" providerId="ADAL" clId="{97A3683F-7FB2-425B-9CA4-023E247BC1C6}" dt="2021-11-18T11:31:12.356" v="1471" actId="1076"/>
          <ac:spMkLst>
            <pc:docMk/>
            <pc:sldMk cId="0" sldId="2467"/>
            <ac:spMk id="9223" creationId="{5D59B258-C08B-43CB-95CB-677ACE2575E2}"/>
          </ac:spMkLst>
        </pc:spChg>
        <pc:graphicFrameChg chg="mod">
          <ac:chgData name="Müller, Kurt (SI BP S TSS ACD)" userId="e7e82c7e-80c6-42a5-ab71-24588885b7fe" providerId="ADAL" clId="{97A3683F-7FB2-425B-9CA4-023E247BC1C6}" dt="2021-11-18T11:31:22.037" v="1472" actId="1076"/>
          <ac:graphicFrameMkLst>
            <pc:docMk/>
            <pc:sldMk cId="0" sldId="2467"/>
            <ac:graphicFrameMk id="24" creationId="{61DC41C9-DAC1-4127-91B3-975A82AE15C0}"/>
          </ac:graphicFrameMkLst>
        </pc:graphicFrameChg>
      </pc:sldChg>
      <pc:sldChg chg="modSp mod">
        <pc:chgData name="Müller, Kurt (SI BP S TSS ACD)" userId="e7e82c7e-80c6-42a5-ab71-24588885b7fe" providerId="ADAL" clId="{97A3683F-7FB2-425B-9CA4-023E247BC1C6}" dt="2021-11-25T20:53:55.732" v="1496" actId="313"/>
        <pc:sldMkLst>
          <pc:docMk/>
          <pc:sldMk cId="981125185" sldId="2496"/>
        </pc:sldMkLst>
        <pc:spChg chg="mod">
          <ac:chgData name="Müller, Kurt (SI BP S TSS ACD)" userId="e7e82c7e-80c6-42a5-ab71-24588885b7fe" providerId="ADAL" clId="{97A3683F-7FB2-425B-9CA4-023E247BC1C6}" dt="2021-11-25T20:53:55.732" v="1496" actId="313"/>
          <ac:spMkLst>
            <pc:docMk/>
            <pc:sldMk cId="981125185" sldId="2496"/>
            <ac:spMk id="106" creationId="{568D2ADE-E380-46DB-82AD-290E8528F85E}"/>
          </ac:spMkLst>
        </pc:spChg>
      </pc:sldChg>
      <pc:sldChg chg="addSp delSp modSp mod">
        <pc:chgData name="Müller, Kurt (SI BP S TSS ACD)" userId="e7e82c7e-80c6-42a5-ab71-24588885b7fe" providerId="ADAL" clId="{97A3683F-7FB2-425B-9CA4-023E247BC1C6}" dt="2021-11-15T15:05:02.525" v="1451" actId="20577"/>
        <pc:sldMkLst>
          <pc:docMk/>
          <pc:sldMk cId="370757316" sldId="2497"/>
        </pc:sldMkLst>
        <pc:spChg chg="mod">
          <ac:chgData name="Müller, Kurt (SI BP S TSS ACD)" userId="e7e82c7e-80c6-42a5-ab71-24588885b7fe" providerId="ADAL" clId="{97A3683F-7FB2-425B-9CA4-023E247BC1C6}" dt="2021-11-15T15:04:51.267" v="1447" actId="20577"/>
          <ac:spMkLst>
            <pc:docMk/>
            <pc:sldMk cId="370757316" sldId="2497"/>
            <ac:spMk id="13" creationId="{21F58B57-5072-479A-89C9-A0A0D07B3A40}"/>
          </ac:spMkLst>
        </pc:spChg>
        <pc:spChg chg="mod">
          <ac:chgData name="Müller, Kurt (SI BP S TSS ACD)" userId="e7e82c7e-80c6-42a5-ab71-24588885b7fe" providerId="ADAL" clId="{97A3683F-7FB2-425B-9CA4-023E247BC1C6}" dt="2021-11-15T15:05:02.525" v="1451" actId="20577"/>
          <ac:spMkLst>
            <pc:docMk/>
            <pc:sldMk cId="370757316" sldId="2497"/>
            <ac:spMk id="14" creationId="{EB828C9E-25E3-4F0D-8498-57D193854036}"/>
          </ac:spMkLst>
        </pc:spChg>
        <pc:spChg chg="add mod">
          <ac:chgData name="Müller, Kurt (SI BP S TSS ACD)" userId="e7e82c7e-80c6-42a5-ab71-24588885b7fe" providerId="ADAL" clId="{97A3683F-7FB2-425B-9CA4-023E247BC1C6}" dt="2021-11-15T15:04:18.543" v="1442" actId="14100"/>
          <ac:spMkLst>
            <pc:docMk/>
            <pc:sldMk cId="370757316" sldId="2497"/>
            <ac:spMk id="15" creationId="{875DCFA8-2175-4637-8083-B9CD9B631649}"/>
          </ac:spMkLst>
        </pc:spChg>
        <pc:spChg chg="add mod">
          <ac:chgData name="Müller, Kurt (SI BP S TSS ACD)" userId="e7e82c7e-80c6-42a5-ab71-24588885b7fe" providerId="ADAL" clId="{97A3683F-7FB2-425B-9CA4-023E247BC1C6}" dt="2021-11-15T15:04:22.135" v="1443" actId="571"/>
          <ac:spMkLst>
            <pc:docMk/>
            <pc:sldMk cId="370757316" sldId="2497"/>
            <ac:spMk id="16" creationId="{B1486AFC-B396-4114-B34D-47F417B91E10}"/>
          </ac:spMkLst>
        </pc:spChg>
        <pc:spChg chg="mod">
          <ac:chgData name="Müller, Kurt (SI BP S TSS ACD)" userId="e7e82c7e-80c6-42a5-ab71-24588885b7fe" providerId="ADAL" clId="{97A3683F-7FB2-425B-9CA4-023E247BC1C6}" dt="2021-11-15T14:56:35.312" v="1404" actId="14100"/>
          <ac:spMkLst>
            <pc:docMk/>
            <pc:sldMk cId="370757316" sldId="2497"/>
            <ac:spMk id="28" creationId="{0E80F07F-4042-402D-AA78-ED4E6DDDE9C0}"/>
          </ac:spMkLst>
        </pc:spChg>
        <pc:spChg chg="del">
          <ac:chgData name="Müller, Kurt (SI BP S TSS ACD)" userId="e7e82c7e-80c6-42a5-ab71-24588885b7fe" providerId="ADAL" clId="{97A3683F-7FB2-425B-9CA4-023E247BC1C6}" dt="2021-11-15T14:58:19.518" v="1411" actId="478"/>
          <ac:spMkLst>
            <pc:docMk/>
            <pc:sldMk cId="370757316" sldId="2497"/>
            <ac:spMk id="40" creationId="{3FEF759D-26B4-40E8-A123-BD6689257C52}"/>
          </ac:spMkLst>
        </pc:spChg>
        <pc:picChg chg="add mod">
          <ac:chgData name="Müller, Kurt (SI BP S TSS ACD)" userId="e7e82c7e-80c6-42a5-ab71-24588885b7fe" providerId="ADAL" clId="{97A3683F-7FB2-425B-9CA4-023E247BC1C6}" dt="2021-11-15T14:58:24.526" v="1413" actId="1076"/>
          <ac:picMkLst>
            <pc:docMk/>
            <pc:sldMk cId="370757316" sldId="2497"/>
            <ac:picMk id="3" creationId="{470A0EBB-B900-43C6-A3FE-D023D806B0BA}"/>
          </ac:picMkLst>
        </pc:picChg>
        <pc:picChg chg="add mod">
          <ac:chgData name="Müller, Kurt (SI BP S TSS ACD)" userId="e7e82c7e-80c6-42a5-ab71-24588885b7fe" providerId="ADAL" clId="{97A3683F-7FB2-425B-9CA4-023E247BC1C6}" dt="2021-11-15T15:00:38.970" v="1418" actId="1076"/>
          <ac:picMkLst>
            <pc:docMk/>
            <pc:sldMk cId="370757316" sldId="2497"/>
            <ac:picMk id="5" creationId="{0C8D1B51-1F73-4C24-9898-B06E791850BF}"/>
          </ac:picMkLst>
        </pc:picChg>
      </pc:sldChg>
      <pc:sldChg chg="addSp modSp mod modAnim">
        <pc:chgData name="Müller, Kurt (SI BP S TSS ACD)" userId="e7e82c7e-80c6-42a5-ab71-24588885b7fe" providerId="ADAL" clId="{97A3683F-7FB2-425B-9CA4-023E247BC1C6}" dt="2021-11-08T10:32:29.471" v="427"/>
        <pc:sldMkLst>
          <pc:docMk/>
          <pc:sldMk cId="1326469617" sldId="2502"/>
        </pc:sldMkLst>
        <pc:spChg chg="add mod">
          <ac:chgData name="Müller, Kurt (SI BP S TSS ACD)" userId="e7e82c7e-80c6-42a5-ab71-24588885b7fe" providerId="ADAL" clId="{97A3683F-7FB2-425B-9CA4-023E247BC1C6}" dt="2021-11-08T10:18:41.479" v="421" actId="20577"/>
          <ac:spMkLst>
            <pc:docMk/>
            <pc:sldMk cId="1326469617" sldId="2502"/>
            <ac:spMk id="12" creationId="{E56B1796-1CF5-4739-8AE4-899D122206D0}"/>
          </ac:spMkLst>
        </pc:spChg>
        <pc:spChg chg="mod">
          <ac:chgData name="Müller, Kurt (SI BP S TSS ACD)" userId="e7e82c7e-80c6-42a5-ab71-24588885b7fe" providerId="ADAL" clId="{97A3683F-7FB2-425B-9CA4-023E247BC1C6}" dt="2021-11-08T10:18:10.940" v="415" actId="6549"/>
          <ac:spMkLst>
            <pc:docMk/>
            <pc:sldMk cId="1326469617" sldId="2502"/>
            <ac:spMk id="13" creationId="{3972A43F-EB41-488D-8627-93CE8199840D}"/>
          </ac:spMkLst>
        </pc:spChg>
        <pc:spChg chg="add mod">
          <ac:chgData name="Müller, Kurt (SI BP S TSS ACD)" userId="e7e82c7e-80c6-42a5-ab71-24588885b7fe" providerId="ADAL" clId="{97A3683F-7FB2-425B-9CA4-023E247BC1C6}" dt="2021-11-08T10:18:47.975" v="422" actId="1076"/>
          <ac:spMkLst>
            <pc:docMk/>
            <pc:sldMk cId="1326469617" sldId="2502"/>
            <ac:spMk id="14" creationId="{97F62D26-4756-4F6B-A82A-0C54FE4407EB}"/>
          </ac:spMkLst>
        </pc:spChg>
        <pc:spChg chg="mod">
          <ac:chgData name="Müller, Kurt (SI BP S TSS ACD)" userId="e7e82c7e-80c6-42a5-ab71-24588885b7fe" providerId="ADAL" clId="{97A3683F-7FB2-425B-9CA4-023E247BC1C6}" dt="2021-11-08T10:11:56.756" v="398" actId="20577"/>
          <ac:spMkLst>
            <pc:docMk/>
            <pc:sldMk cId="1326469617" sldId="2502"/>
            <ac:spMk id="16" creationId="{57234F87-9AE3-415B-8AFF-642B9F0F3664}"/>
          </ac:spMkLst>
        </pc:spChg>
        <pc:spChg chg="mod">
          <ac:chgData name="Müller, Kurt (SI BP S TSS ACD)" userId="e7e82c7e-80c6-42a5-ab71-24588885b7fe" providerId="ADAL" clId="{97A3683F-7FB2-425B-9CA4-023E247BC1C6}" dt="2021-11-08T10:19:28.620" v="423" actId="164"/>
          <ac:spMkLst>
            <pc:docMk/>
            <pc:sldMk cId="1326469617" sldId="2502"/>
            <ac:spMk id="19" creationId="{A445511D-AB73-4FF7-A3B6-93F7C8247A9A}"/>
          </ac:spMkLst>
        </pc:spChg>
        <pc:spChg chg="mod">
          <ac:chgData name="Müller, Kurt (SI BP S TSS ACD)" userId="e7e82c7e-80c6-42a5-ab71-24588885b7fe" providerId="ADAL" clId="{97A3683F-7FB2-425B-9CA4-023E247BC1C6}" dt="2021-11-08T10:19:32.890" v="424" actId="164"/>
          <ac:spMkLst>
            <pc:docMk/>
            <pc:sldMk cId="1326469617" sldId="2502"/>
            <ac:spMk id="20" creationId="{E42C6CA5-5E2A-4F98-9E61-D7B395A177D0}"/>
          </ac:spMkLst>
        </pc:spChg>
        <pc:grpChg chg="add mod">
          <ac:chgData name="Müller, Kurt (SI BP S TSS ACD)" userId="e7e82c7e-80c6-42a5-ab71-24588885b7fe" providerId="ADAL" clId="{97A3683F-7FB2-425B-9CA4-023E247BC1C6}" dt="2021-11-08T10:19:28.620" v="423" actId="164"/>
          <ac:grpSpMkLst>
            <pc:docMk/>
            <pc:sldMk cId="1326469617" sldId="2502"/>
            <ac:grpSpMk id="2" creationId="{3AB18827-F137-4FD0-9686-4FB42A03E818}"/>
          </ac:grpSpMkLst>
        </pc:grpChg>
        <pc:grpChg chg="add mod">
          <ac:chgData name="Müller, Kurt (SI BP S TSS ACD)" userId="e7e82c7e-80c6-42a5-ab71-24588885b7fe" providerId="ADAL" clId="{97A3683F-7FB2-425B-9CA4-023E247BC1C6}" dt="2021-11-08T10:19:32.890" v="424" actId="164"/>
          <ac:grpSpMkLst>
            <pc:docMk/>
            <pc:sldMk cId="1326469617" sldId="2502"/>
            <ac:grpSpMk id="3" creationId="{69C6965B-D6B7-48A3-82CA-A242870460C1}"/>
          </ac:grpSpMkLst>
        </pc:grpChg>
        <pc:picChg chg="mod">
          <ac:chgData name="Müller, Kurt (SI BP S TSS ACD)" userId="e7e82c7e-80c6-42a5-ab71-24588885b7fe" providerId="ADAL" clId="{97A3683F-7FB2-425B-9CA4-023E247BC1C6}" dt="2021-11-08T10:19:32.890" v="424" actId="164"/>
          <ac:picMkLst>
            <pc:docMk/>
            <pc:sldMk cId="1326469617" sldId="2502"/>
            <ac:picMk id="4" creationId="{94CDB759-4FBE-43AE-85ED-1C52F9E220A9}"/>
          </ac:picMkLst>
        </pc:picChg>
        <pc:picChg chg="mod">
          <ac:chgData name="Müller, Kurt (SI BP S TSS ACD)" userId="e7e82c7e-80c6-42a5-ab71-24588885b7fe" providerId="ADAL" clId="{97A3683F-7FB2-425B-9CA4-023E247BC1C6}" dt="2021-11-08T10:19:28.620" v="423" actId="164"/>
          <ac:picMkLst>
            <pc:docMk/>
            <pc:sldMk cId="1326469617" sldId="2502"/>
            <ac:picMk id="5" creationId="{B887B4AC-3A40-4E26-88F0-390EF985D601}"/>
          </ac:picMkLst>
        </pc:picChg>
      </pc:sldChg>
      <pc:sldChg chg="addSp modSp mod modAnim">
        <pc:chgData name="Müller, Kurt (SI BP S TSS ACD)" userId="e7e82c7e-80c6-42a5-ab71-24588885b7fe" providerId="ADAL" clId="{97A3683F-7FB2-425B-9CA4-023E247BC1C6}" dt="2021-11-08T16:28:00.952" v="1198" actId="6549"/>
        <pc:sldMkLst>
          <pc:docMk/>
          <pc:sldMk cId="3365061032" sldId="2504"/>
        </pc:sldMkLst>
        <pc:spChg chg="mod">
          <ac:chgData name="Müller, Kurt (SI BP S TSS ACD)" userId="e7e82c7e-80c6-42a5-ab71-24588885b7fe" providerId="ADAL" clId="{97A3683F-7FB2-425B-9CA4-023E247BC1C6}" dt="2021-11-08T16:08:15.896" v="667" actId="1076"/>
          <ac:spMkLst>
            <pc:docMk/>
            <pc:sldMk cId="3365061032" sldId="2504"/>
            <ac:spMk id="6" creationId="{ACFE5366-A421-4449-A79D-356CF320F495}"/>
          </ac:spMkLst>
        </pc:spChg>
        <pc:spChg chg="mod">
          <ac:chgData name="Müller, Kurt (SI BP S TSS ACD)" userId="e7e82c7e-80c6-42a5-ab71-24588885b7fe" providerId="ADAL" clId="{97A3683F-7FB2-425B-9CA4-023E247BC1C6}" dt="2021-11-08T16:08:25.973" v="671" actId="14100"/>
          <ac:spMkLst>
            <pc:docMk/>
            <pc:sldMk cId="3365061032" sldId="2504"/>
            <ac:spMk id="13" creationId="{9EC16153-052D-42B5-9FD3-40F27A8E5BC0}"/>
          </ac:spMkLst>
        </pc:spChg>
        <pc:spChg chg="add mod">
          <ac:chgData name="Müller, Kurt (SI BP S TSS ACD)" userId="e7e82c7e-80c6-42a5-ab71-24588885b7fe" providerId="ADAL" clId="{97A3683F-7FB2-425B-9CA4-023E247BC1C6}" dt="2021-11-08T16:24:28.485" v="1138" actId="1076"/>
          <ac:spMkLst>
            <pc:docMk/>
            <pc:sldMk cId="3365061032" sldId="2504"/>
            <ac:spMk id="16" creationId="{85AD6B94-A20D-4F4F-979D-CA89891AF2A8}"/>
          </ac:spMkLst>
        </pc:spChg>
        <pc:spChg chg="add mod">
          <ac:chgData name="Müller, Kurt (SI BP S TSS ACD)" userId="e7e82c7e-80c6-42a5-ab71-24588885b7fe" providerId="ADAL" clId="{97A3683F-7FB2-425B-9CA4-023E247BC1C6}" dt="2021-11-08T16:24:28.485" v="1138" actId="1076"/>
          <ac:spMkLst>
            <pc:docMk/>
            <pc:sldMk cId="3365061032" sldId="2504"/>
            <ac:spMk id="17" creationId="{B65A9656-CD74-46A6-AB8E-455599BD5432}"/>
          </ac:spMkLst>
        </pc:spChg>
        <pc:spChg chg="mod">
          <ac:chgData name="Müller, Kurt (SI BP S TSS ACD)" userId="e7e82c7e-80c6-42a5-ab71-24588885b7fe" providerId="ADAL" clId="{97A3683F-7FB2-425B-9CA4-023E247BC1C6}" dt="2021-11-08T16:28:00.952" v="1198" actId="6549"/>
          <ac:spMkLst>
            <pc:docMk/>
            <pc:sldMk cId="3365061032" sldId="2504"/>
            <ac:spMk id="28" creationId="{0E80F07F-4042-402D-AA78-ED4E6DDDE9C0}"/>
          </ac:spMkLst>
        </pc:spChg>
        <pc:grpChg chg="add mod">
          <ac:chgData name="Müller, Kurt (SI BP S TSS ACD)" userId="e7e82c7e-80c6-42a5-ab71-24588885b7fe" providerId="ADAL" clId="{97A3683F-7FB2-425B-9CA4-023E247BC1C6}" dt="2021-11-08T16:08:15.896" v="667" actId="1076"/>
          <ac:grpSpMkLst>
            <pc:docMk/>
            <pc:sldMk cId="3365061032" sldId="2504"/>
            <ac:grpSpMk id="2" creationId="{18E70659-7E01-41C3-BCCB-FFCF0BD85C6A}"/>
          </ac:grpSpMkLst>
        </pc:grpChg>
        <pc:picChg chg="mod">
          <ac:chgData name="Müller, Kurt (SI BP S TSS ACD)" userId="e7e82c7e-80c6-42a5-ab71-24588885b7fe" providerId="ADAL" clId="{97A3683F-7FB2-425B-9CA4-023E247BC1C6}" dt="2021-11-08T16:08:15.896" v="667" actId="1076"/>
          <ac:picMkLst>
            <pc:docMk/>
            <pc:sldMk cId="3365061032" sldId="2504"/>
            <ac:picMk id="5" creationId="{C42982FC-B81C-4034-8844-9D9539BE385E}"/>
          </ac:picMkLst>
        </pc:picChg>
        <pc:picChg chg="mod">
          <ac:chgData name="Müller, Kurt (SI BP S TSS ACD)" userId="e7e82c7e-80c6-42a5-ab71-24588885b7fe" providerId="ADAL" clId="{97A3683F-7FB2-425B-9CA4-023E247BC1C6}" dt="2021-11-08T16:08:15.896" v="667" actId="1076"/>
          <ac:picMkLst>
            <pc:docMk/>
            <pc:sldMk cId="3365061032" sldId="2504"/>
            <ac:picMk id="12" creationId="{37F8A821-EF53-4042-8F2B-10502A898F40}"/>
          </ac:picMkLst>
        </pc:picChg>
        <pc:picChg chg="add mod">
          <ac:chgData name="Müller, Kurt (SI BP S TSS ACD)" userId="e7e82c7e-80c6-42a5-ab71-24588885b7fe" providerId="ADAL" clId="{97A3683F-7FB2-425B-9CA4-023E247BC1C6}" dt="2021-11-08T16:24:37.453" v="1140" actId="1076"/>
          <ac:picMkLst>
            <pc:docMk/>
            <pc:sldMk cId="3365061032" sldId="2504"/>
            <ac:picMk id="14" creationId="{71E1DC6D-10EA-4C13-B376-1100D2FE0341}"/>
          </ac:picMkLst>
        </pc:picChg>
        <pc:picChg chg="mod">
          <ac:chgData name="Müller, Kurt (SI BP S TSS ACD)" userId="e7e82c7e-80c6-42a5-ab71-24588885b7fe" providerId="ADAL" clId="{97A3683F-7FB2-425B-9CA4-023E247BC1C6}" dt="2021-11-08T16:24:28.485" v="1138" actId="1076"/>
          <ac:picMkLst>
            <pc:docMk/>
            <pc:sldMk cId="3365061032" sldId="2504"/>
            <ac:picMk id="15" creationId="{AE65D951-3452-4586-A27C-0CE8042580C4}"/>
          </ac:picMkLst>
        </pc:picChg>
      </pc:sldChg>
      <pc:sldChg chg="addSp modSp mod">
        <pc:chgData name="Müller, Kurt (SI BP S TSS ACD)" userId="e7e82c7e-80c6-42a5-ab71-24588885b7fe" providerId="ADAL" clId="{97A3683F-7FB2-425B-9CA4-023E247BC1C6}" dt="2021-11-15T15:06:26.101" v="1453" actId="5793"/>
        <pc:sldMkLst>
          <pc:docMk/>
          <pc:sldMk cId="2176441571" sldId="2507"/>
        </pc:sldMkLst>
        <pc:spChg chg="add mod">
          <ac:chgData name="Müller, Kurt (SI BP S TSS ACD)" userId="e7e82c7e-80c6-42a5-ab71-24588885b7fe" providerId="ADAL" clId="{97A3683F-7FB2-425B-9CA4-023E247BC1C6}" dt="2021-11-08T17:39:20.611" v="1222" actId="1076"/>
          <ac:spMkLst>
            <pc:docMk/>
            <pc:sldMk cId="2176441571" sldId="2507"/>
            <ac:spMk id="2" creationId="{4D1B379E-7341-4EE8-BBB0-028EC4932E0B}"/>
          </ac:spMkLst>
        </pc:spChg>
        <pc:spChg chg="mod">
          <ac:chgData name="Müller, Kurt (SI BP S TSS ACD)" userId="e7e82c7e-80c6-42a5-ab71-24588885b7fe" providerId="ADAL" clId="{97A3683F-7FB2-425B-9CA4-023E247BC1C6}" dt="2021-11-15T15:06:26.101" v="1453" actId="5793"/>
          <ac:spMkLst>
            <pc:docMk/>
            <pc:sldMk cId="2176441571" sldId="2507"/>
            <ac:spMk id="28" creationId="{0E80F07F-4042-402D-AA78-ED4E6DDDE9C0}"/>
          </ac:spMkLst>
        </pc:spChg>
        <pc:picChg chg="mod">
          <ac:chgData name="Müller, Kurt (SI BP S TSS ACD)" userId="e7e82c7e-80c6-42a5-ab71-24588885b7fe" providerId="ADAL" clId="{97A3683F-7FB2-425B-9CA4-023E247BC1C6}" dt="2021-11-08T17:37:54.268" v="1199" actId="14100"/>
          <ac:picMkLst>
            <pc:docMk/>
            <pc:sldMk cId="2176441571" sldId="2507"/>
            <ac:picMk id="2052" creationId="{A8A31189-A362-49D6-9F70-9444227F85BC}"/>
          </ac:picMkLst>
        </pc:picChg>
      </pc:sldChg>
      <pc:sldChg chg="addSp modSp mod ord">
        <pc:chgData name="Müller, Kurt (SI BP S TSS ACD)" userId="e7e82c7e-80c6-42a5-ab71-24588885b7fe" providerId="ADAL" clId="{97A3683F-7FB2-425B-9CA4-023E247BC1C6}" dt="2021-11-15T14:52:52.925" v="1396" actId="1035"/>
        <pc:sldMkLst>
          <pc:docMk/>
          <pc:sldMk cId="1419230258" sldId="2510"/>
        </pc:sldMkLst>
        <pc:spChg chg="mod">
          <ac:chgData name="Müller, Kurt (SI BP S TSS ACD)" userId="e7e82c7e-80c6-42a5-ab71-24588885b7fe" providerId="ADAL" clId="{97A3683F-7FB2-425B-9CA4-023E247BC1C6}" dt="2021-11-15T14:52:52.925" v="1396" actId="1035"/>
          <ac:spMkLst>
            <pc:docMk/>
            <pc:sldMk cId="1419230258" sldId="2510"/>
            <ac:spMk id="7" creationId="{23AB4AED-D5AA-45EE-B34E-A09BECC5AE40}"/>
          </ac:spMkLst>
        </pc:spChg>
        <pc:spChg chg="mod">
          <ac:chgData name="Müller, Kurt (SI BP S TSS ACD)" userId="e7e82c7e-80c6-42a5-ab71-24588885b7fe" providerId="ADAL" clId="{97A3683F-7FB2-425B-9CA4-023E247BC1C6}" dt="2021-11-15T14:52:52.925" v="1396" actId="1035"/>
          <ac:spMkLst>
            <pc:docMk/>
            <pc:sldMk cId="1419230258" sldId="2510"/>
            <ac:spMk id="8" creationId="{E225BA01-6874-4E7C-A1F7-BC9D0407DE3C}"/>
          </ac:spMkLst>
        </pc:spChg>
        <pc:spChg chg="add mod">
          <ac:chgData name="Müller, Kurt (SI BP S TSS ACD)" userId="e7e82c7e-80c6-42a5-ab71-24588885b7fe" providerId="ADAL" clId="{97A3683F-7FB2-425B-9CA4-023E247BC1C6}" dt="2021-11-08T17:45:49.536" v="1385" actId="6549"/>
          <ac:spMkLst>
            <pc:docMk/>
            <pc:sldMk cId="1419230258" sldId="2510"/>
            <ac:spMk id="11" creationId="{99D822FA-E05B-44B3-9492-153E4DE16D68}"/>
          </ac:spMkLst>
        </pc:spChg>
        <pc:spChg chg="mod">
          <ac:chgData name="Müller, Kurt (SI BP S TSS ACD)" userId="e7e82c7e-80c6-42a5-ab71-24588885b7fe" providerId="ADAL" clId="{97A3683F-7FB2-425B-9CA4-023E247BC1C6}" dt="2021-11-08T17:44:05.686" v="1223" actId="14100"/>
          <ac:spMkLst>
            <pc:docMk/>
            <pc:sldMk cId="1419230258" sldId="2510"/>
            <ac:spMk id="49" creationId="{6DB0BAC4-DF3C-43A3-8524-FD9843A2F192}"/>
          </ac:spMkLst>
        </pc:spChg>
        <pc:spChg chg="mod">
          <ac:chgData name="Müller, Kurt (SI BP S TSS ACD)" userId="e7e82c7e-80c6-42a5-ab71-24588885b7fe" providerId="ADAL" clId="{97A3683F-7FB2-425B-9CA4-023E247BC1C6}" dt="2021-11-08T17:44:25.449" v="1225" actId="1076"/>
          <ac:spMkLst>
            <pc:docMk/>
            <pc:sldMk cId="1419230258" sldId="2510"/>
            <ac:spMk id="53" creationId="{41292529-9D93-4325-B311-0AF7804415B9}"/>
          </ac:spMkLst>
        </pc:spChg>
        <pc:picChg chg="mod">
          <ac:chgData name="Müller, Kurt (SI BP S TSS ACD)" userId="e7e82c7e-80c6-42a5-ab71-24588885b7fe" providerId="ADAL" clId="{97A3683F-7FB2-425B-9CA4-023E247BC1C6}" dt="2021-11-15T14:52:52.925" v="1396" actId="1035"/>
          <ac:picMkLst>
            <pc:docMk/>
            <pc:sldMk cId="1419230258" sldId="2510"/>
            <ac:picMk id="1028" creationId="{4B8104F1-11D8-40C6-80CE-24DB5D3410FE}"/>
          </ac:picMkLst>
        </pc:picChg>
      </pc:sldChg>
      <pc:sldChg chg="addSp delSp modSp mod delAnim modAnim">
        <pc:chgData name="Müller, Kurt (SI BP S TSS ACD)" userId="e7e82c7e-80c6-42a5-ab71-24588885b7fe" providerId="ADAL" clId="{97A3683F-7FB2-425B-9CA4-023E247BC1C6}" dt="2021-11-08T16:07:27.340" v="655" actId="21"/>
        <pc:sldMkLst>
          <pc:docMk/>
          <pc:sldMk cId="2044154474" sldId="2515"/>
        </pc:sldMkLst>
        <pc:spChg chg="mod">
          <ac:chgData name="Müller, Kurt (SI BP S TSS ACD)" userId="e7e82c7e-80c6-42a5-ab71-24588885b7fe" providerId="ADAL" clId="{97A3683F-7FB2-425B-9CA4-023E247BC1C6}" dt="2021-11-08T10:14:52.364" v="399" actId="164"/>
          <ac:spMkLst>
            <pc:docMk/>
            <pc:sldMk cId="2044154474" sldId="2515"/>
            <ac:spMk id="19" creationId="{5A4B4BF5-0028-434A-9540-D977A5AB9646}"/>
          </ac:spMkLst>
        </pc:spChg>
        <pc:spChg chg="add mod">
          <ac:chgData name="Müller, Kurt (SI BP S TSS ACD)" userId="e7e82c7e-80c6-42a5-ab71-24588885b7fe" providerId="ADAL" clId="{97A3683F-7FB2-425B-9CA4-023E247BC1C6}" dt="2021-11-08T13:24:51.881" v="486" actId="1076"/>
          <ac:spMkLst>
            <pc:docMk/>
            <pc:sldMk cId="2044154474" sldId="2515"/>
            <ac:spMk id="25" creationId="{8FFB5858-B489-456B-A1EF-7B9A710417B2}"/>
          </ac:spMkLst>
        </pc:spChg>
        <pc:spChg chg="mod">
          <ac:chgData name="Müller, Kurt (SI BP S TSS ACD)" userId="e7e82c7e-80c6-42a5-ab71-24588885b7fe" providerId="ADAL" clId="{97A3683F-7FB2-425B-9CA4-023E247BC1C6}" dt="2021-11-08T10:14:52.364" v="399" actId="164"/>
          <ac:spMkLst>
            <pc:docMk/>
            <pc:sldMk cId="2044154474" sldId="2515"/>
            <ac:spMk id="63" creationId="{C0B2FE8C-BB83-4E6E-899E-8EFB84B050D1}"/>
          </ac:spMkLst>
        </pc:spChg>
        <pc:spChg chg="mod">
          <ac:chgData name="Müller, Kurt (SI BP S TSS ACD)" userId="e7e82c7e-80c6-42a5-ab71-24588885b7fe" providerId="ADAL" clId="{97A3683F-7FB2-425B-9CA4-023E247BC1C6}" dt="2021-11-08T10:14:52.364" v="399" actId="164"/>
          <ac:spMkLst>
            <pc:docMk/>
            <pc:sldMk cId="2044154474" sldId="2515"/>
            <ac:spMk id="64" creationId="{99D68FCC-6B80-4308-BA33-D359A281C89E}"/>
          </ac:spMkLst>
        </pc:spChg>
        <pc:spChg chg="mod">
          <ac:chgData name="Müller, Kurt (SI BP S TSS ACD)" userId="e7e82c7e-80c6-42a5-ab71-24588885b7fe" providerId="ADAL" clId="{97A3683F-7FB2-425B-9CA4-023E247BC1C6}" dt="2021-11-08T10:14:52.364" v="399" actId="164"/>
          <ac:spMkLst>
            <pc:docMk/>
            <pc:sldMk cId="2044154474" sldId="2515"/>
            <ac:spMk id="65" creationId="{FD14A94E-EC4A-416D-8B4F-E456FD632BAC}"/>
          </ac:spMkLst>
        </pc:spChg>
        <pc:spChg chg="mod">
          <ac:chgData name="Müller, Kurt (SI BP S TSS ACD)" userId="e7e82c7e-80c6-42a5-ab71-24588885b7fe" providerId="ADAL" clId="{97A3683F-7FB2-425B-9CA4-023E247BC1C6}" dt="2021-11-08T15:53:29.083" v="640" actId="14100"/>
          <ac:spMkLst>
            <pc:docMk/>
            <pc:sldMk cId="2044154474" sldId="2515"/>
            <ac:spMk id="71" creationId="{DC8B5D5D-8604-4367-951F-35B720D45F58}"/>
          </ac:spMkLst>
        </pc:spChg>
        <pc:spChg chg="mod">
          <ac:chgData name="Müller, Kurt (SI BP S TSS ACD)" userId="e7e82c7e-80c6-42a5-ab71-24588885b7fe" providerId="ADAL" clId="{97A3683F-7FB2-425B-9CA4-023E247BC1C6}" dt="2021-11-08T15:53:00.033" v="636" actId="14100"/>
          <ac:spMkLst>
            <pc:docMk/>
            <pc:sldMk cId="2044154474" sldId="2515"/>
            <ac:spMk id="72" creationId="{E5360674-24A6-464A-9BAA-F4A75F0AE731}"/>
          </ac:spMkLst>
        </pc:spChg>
        <pc:spChg chg="mod">
          <ac:chgData name="Müller, Kurt (SI BP S TSS ACD)" userId="e7e82c7e-80c6-42a5-ab71-24588885b7fe" providerId="ADAL" clId="{97A3683F-7FB2-425B-9CA4-023E247BC1C6}" dt="2021-11-08T15:53:13.347" v="637" actId="14100"/>
          <ac:spMkLst>
            <pc:docMk/>
            <pc:sldMk cId="2044154474" sldId="2515"/>
            <ac:spMk id="73" creationId="{5D3F2879-8C2D-4421-953C-49A0204813D7}"/>
          </ac:spMkLst>
        </pc:spChg>
        <pc:spChg chg="mod">
          <ac:chgData name="Müller, Kurt (SI BP S TSS ACD)" userId="e7e82c7e-80c6-42a5-ab71-24588885b7fe" providerId="ADAL" clId="{97A3683F-7FB2-425B-9CA4-023E247BC1C6}" dt="2021-11-08T16:06:30.039" v="651" actId="14100"/>
          <ac:spMkLst>
            <pc:docMk/>
            <pc:sldMk cId="2044154474" sldId="2515"/>
            <ac:spMk id="77" creationId="{F20C0A4C-5EE4-4800-9637-9526D0DAF1FB}"/>
          </ac:spMkLst>
        </pc:spChg>
        <pc:spChg chg="mod">
          <ac:chgData name="Müller, Kurt (SI BP S TSS ACD)" userId="e7e82c7e-80c6-42a5-ab71-24588885b7fe" providerId="ADAL" clId="{97A3683F-7FB2-425B-9CA4-023E247BC1C6}" dt="2021-11-08T16:06:34.071" v="652" actId="1076"/>
          <ac:spMkLst>
            <pc:docMk/>
            <pc:sldMk cId="2044154474" sldId="2515"/>
            <ac:spMk id="78" creationId="{323C1699-0732-4F4A-BBBE-BB59799335C1}"/>
          </ac:spMkLst>
        </pc:spChg>
        <pc:grpChg chg="add mod">
          <ac:chgData name="Müller, Kurt (SI BP S TSS ACD)" userId="e7e82c7e-80c6-42a5-ab71-24588885b7fe" providerId="ADAL" clId="{97A3683F-7FB2-425B-9CA4-023E247BC1C6}" dt="2021-11-08T10:14:52.364" v="399" actId="164"/>
          <ac:grpSpMkLst>
            <pc:docMk/>
            <pc:sldMk cId="2044154474" sldId="2515"/>
            <ac:grpSpMk id="2" creationId="{FE9ADEFA-07B3-4F56-8492-61CBD209DE0E}"/>
          </ac:grpSpMkLst>
        </pc:grpChg>
        <pc:picChg chg="mod modCrop">
          <ac:chgData name="Müller, Kurt (SI BP S TSS ACD)" userId="e7e82c7e-80c6-42a5-ab71-24588885b7fe" providerId="ADAL" clId="{97A3683F-7FB2-425B-9CA4-023E247BC1C6}" dt="2021-11-08T16:06:34.748" v="653" actId="1076"/>
          <ac:picMkLst>
            <pc:docMk/>
            <pc:sldMk cId="2044154474" sldId="2515"/>
            <ac:picMk id="3" creationId="{C429F226-0310-47E3-B107-6824B9FA8839}"/>
          </ac:picMkLst>
        </pc:picChg>
        <pc:picChg chg="add del mod">
          <ac:chgData name="Müller, Kurt (SI BP S TSS ACD)" userId="e7e82c7e-80c6-42a5-ab71-24588885b7fe" providerId="ADAL" clId="{97A3683F-7FB2-425B-9CA4-023E247BC1C6}" dt="2021-11-08T16:07:27.340" v="655" actId="21"/>
          <ac:picMkLst>
            <pc:docMk/>
            <pc:sldMk cId="2044154474" sldId="2515"/>
            <ac:picMk id="6" creationId="{69DD494A-D37E-41EC-98FB-EC2CA0BEDFAE}"/>
          </ac:picMkLst>
        </pc:picChg>
      </pc:sldChg>
      <pc:sldChg chg="delSp modSp mod">
        <pc:chgData name="Müller, Kurt (SI BP S TSS ACD)" userId="e7e82c7e-80c6-42a5-ab71-24588885b7fe" providerId="ADAL" clId="{97A3683F-7FB2-425B-9CA4-023E247BC1C6}" dt="2021-11-15T14:49:22.280" v="1391" actId="1037"/>
        <pc:sldMkLst>
          <pc:docMk/>
          <pc:sldMk cId="4234920442" sldId="2516"/>
        </pc:sldMkLst>
        <pc:picChg chg="del">
          <ac:chgData name="Müller, Kurt (SI BP S TSS ACD)" userId="e7e82c7e-80c6-42a5-ab71-24588885b7fe" providerId="ADAL" clId="{97A3683F-7FB2-425B-9CA4-023E247BC1C6}" dt="2021-11-08T13:27:22.566" v="487" actId="478"/>
          <ac:picMkLst>
            <pc:docMk/>
            <pc:sldMk cId="4234920442" sldId="2516"/>
            <ac:picMk id="75" creationId="{4A64A827-0790-4025-8C79-C767303BFFB8}"/>
          </ac:picMkLst>
        </pc:picChg>
        <pc:picChg chg="mod">
          <ac:chgData name="Müller, Kurt (SI BP S TSS ACD)" userId="e7e82c7e-80c6-42a5-ab71-24588885b7fe" providerId="ADAL" clId="{97A3683F-7FB2-425B-9CA4-023E247BC1C6}" dt="2021-11-15T14:49:22.280" v="1391" actId="1037"/>
          <ac:picMkLst>
            <pc:docMk/>
            <pc:sldMk cId="4234920442" sldId="2516"/>
            <ac:picMk id="1026" creationId="{332EE6AF-26AF-4349-BC3A-0BB741A8DC82}"/>
          </ac:picMkLst>
        </pc:picChg>
      </pc:sldChg>
      <pc:sldMasterChg chg="modSp mod delSldLayout">
        <pc:chgData name="Müller, Kurt (SI BP S TSS ACD)" userId="e7e82c7e-80c6-42a5-ab71-24588885b7fe" providerId="ADAL" clId="{97A3683F-7FB2-425B-9CA4-023E247BC1C6}" dt="2021-11-25T20:39:58.275" v="1495" actId="207"/>
        <pc:sldMasterMkLst>
          <pc:docMk/>
          <pc:sldMasterMk cId="0" sldId="2147483669"/>
        </pc:sldMasterMkLst>
        <pc:graphicFrameChg chg="modGraphic">
          <ac:chgData name="Müller, Kurt (SI BP S TSS ACD)" userId="e7e82c7e-80c6-42a5-ab71-24588885b7fe" providerId="ADAL" clId="{97A3683F-7FB2-425B-9CA4-023E247BC1C6}" dt="2021-11-25T20:39:58.275" v="1495" actId="207"/>
          <ac:graphicFrameMkLst>
            <pc:docMk/>
            <pc:sldMasterMk cId="0" sldId="2147483669"/>
            <ac:graphicFrameMk id="27" creationId="{A7E9F445-986C-4021-A63D-2C65DFA3824A}"/>
          </ac:graphicFrameMkLst>
        </pc:graphicFrameChg>
        <pc:sldLayoutChg chg="del">
          <pc:chgData name="Müller, Kurt (SI BP S TSS ACD)" userId="e7e82c7e-80c6-42a5-ab71-24588885b7fe" providerId="ADAL" clId="{97A3683F-7FB2-425B-9CA4-023E247BC1C6}" dt="2021-11-18T10:49:59.135" v="1454" actId="47"/>
          <pc:sldLayoutMkLst>
            <pc:docMk/>
            <pc:sldMasterMk cId="0" sldId="2147483669"/>
            <pc:sldLayoutMk cId="3581841793" sldId="2147483702"/>
          </pc:sldLayoutMkLst>
        </pc:sldLayoutChg>
      </pc:sldMasterChg>
    </pc:docChg>
  </pc:docChgLst>
  <pc:docChgLst>
    <pc:chgData name="Müller, Kurt (SI BP S&amp;C CS&amp;TR TR)" userId="e7e82c7e-80c6-42a5-ab71-24588885b7fe" providerId="ADAL" clId="{9A68D976-6B27-41CF-A773-96FB881042A0}"/>
    <pc:docChg chg="undo custSel addSld modSld">
      <pc:chgData name="Müller, Kurt (SI BP S&amp;C CS&amp;TR TR)" userId="e7e82c7e-80c6-42a5-ab71-24588885b7fe" providerId="ADAL" clId="{9A68D976-6B27-41CF-A773-96FB881042A0}" dt="2021-03-24T18:58:06.463" v="259" actId="14734"/>
      <pc:docMkLst>
        <pc:docMk/>
      </pc:docMkLst>
      <pc:sldChg chg="modSp mod">
        <pc:chgData name="Müller, Kurt (SI BP S&amp;C CS&amp;TR TR)" userId="e7e82c7e-80c6-42a5-ab71-24588885b7fe" providerId="ADAL" clId="{9A68D976-6B27-41CF-A773-96FB881042A0}" dt="2021-03-24T18:06:33.587" v="11" actId="1076"/>
        <pc:sldMkLst>
          <pc:docMk/>
          <pc:sldMk cId="627141999" sldId="2389"/>
        </pc:sldMkLst>
        <pc:spChg chg="mod">
          <ac:chgData name="Müller, Kurt (SI BP S&amp;C CS&amp;TR TR)" userId="e7e82c7e-80c6-42a5-ab71-24588885b7fe" providerId="ADAL" clId="{9A68D976-6B27-41CF-A773-96FB881042A0}" dt="2021-03-24T18:06:33.587" v="11" actId="1076"/>
          <ac:spMkLst>
            <pc:docMk/>
            <pc:sldMk cId="627141999" sldId="2389"/>
            <ac:spMk id="2" creationId="{A3A340E7-F2AC-49F5-95D7-76AEC088FB42}"/>
          </ac:spMkLst>
        </pc:spChg>
        <pc:spChg chg="mod">
          <ac:chgData name="Müller, Kurt (SI BP S&amp;C CS&amp;TR TR)" userId="e7e82c7e-80c6-42a5-ab71-24588885b7fe" providerId="ADAL" clId="{9A68D976-6B27-41CF-A773-96FB881042A0}" dt="2021-03-24T18:06:31.711" v="10" actId="1076"/>
          <ac:spMkLst>
            <pc:docMk/>
            <pc:sldMk cId="627141999" sldId="2389"/>
            <ac:spMk id="83" creationId="{DC9395C4-B05A-47BF-A5E9-6ED9A5703C90}"/>
          </ac:spMkLst>
        </pc:spChg>
        <pc:spChg chg="mod">
          <ac:chgData name="Müller, Kurt (SI BP S&amp;C CS&amp;TR TR)" userId="e7e82c7e-80c6-42a5-ab71-24588885b7fe" providerId="ADAL" clId="{9A68D976-6B27-41CF-A773-96FB881042A0}" dt="2021-03-24T18:06:12.542" v="6" actId="1076"/>
          <ac:spMkLst>
            <pc:docMk/>
            <pc:sldMk cId="627141999" sldId="2389"/>
            <ac:spMk id="427" creationId="{5268E09B-EE08-4AF3-9C31-89F0FD9C9F0A}"/>
          </ac:spMkLst>
        </pc:spChg>
        <pc:spChg chg="mod">
          <ac:chgData name="Müller, Kurt (SI BP S&amp;C CS&amp;TR TR)" userId="e7e82c7e-80c6-42a5-ab71-24588885b7fe" providerId="ADAL" clId="{9A68D976-6B27-41CF-A773-96FB881042A0}" dt="2021-03-24T18:06:17.214" v="7" actId="1076"/>
          <ac:spMkLst>
            <pc:docMk/>
            <pc:sldMk cId="627141999" sldId="2389"/>
            <ac:spMk id="460" creationId="{5D251EA0-E31A-4F86-995A-967C431DB5C6}"/>
          </ac:spMkLst>
        </pc:spChg>
        <pc:grpChg chg="mod">
          <ac:chgData name="Müller, Kurt (SI BP S&amp;C CS&amp;TR TR)" userId="e7e82c7e-80c6-42a5-ab71-24588885b7fe" providerId="ADAL" clId="{9A68D976-6B27-41CF-A773-96FB881042A0}" dt="2021-03-24T18:06:24.837" v="9" actId="14100"/>
          <ac:grpSpMkLst>
            <pc:docMk/>
            <pc:sldMk cId="627141999" sldId="2389"/>
            <ac:grpSpMk id="50" creationId="{673BBA04-5FB5-4630-AE6E-E8D7FDD67962}"/>
          </ac:grpSpMkLst>
        </pc:grpChg>
        <pc:picChg chg="mod">
          <ac:chgData name="Müller, Kurt (SI BP S&amp;C CS&amp;TR TR)" userId="e7e82c7e-80c6-42a5-ab71-24588885b7fe" providerId="ADAL" clId="{9A68D976-6B27-41CF-A773-96FB881042A0}" dt="2021-03-24T18:06:24.837" v="9" actId="14100"/>
          <ac:picMkLst>
            <pc:docMk/>
            <pc:sldMk cId="627141999" sldId="2389"/>
            <ac:picMk id="82" creationId="{99F296A2-AB72-4DA0-B639-3B3C6F1686DC}"/>
          </ac:picMkLst>
        </pc:picChg>
        <pc:cxnChg chg="mod">
          <ac:chgData name="Müller, Kurt (SI BP S&amp;C CS&amp;TR TR)" userId="e7e82c7e-80c6-42a5-ab71-24588885b7fe" providerId="ADAL" clId="{9A68D976-6B27-41CF-A773-96FB881042A0}" dt="2021-03-24T18:06:24.837" v="9" actId="14100"/>
          <ac:cxnSpMkLst>
            <pc:docMk/>
            <pc:sldMk cId="627141999" sldId="2389"/>
            <ac:cxnSpMk id="81" creationId="{19C41384-A955-4183-9862-1F23C005AC5C}"/>
          </ac:cxnSpMkLst>
        </pc:cxnChg>
        <pc:cxnChg chg="mod">
          <ac:chgData name="Müller, Kurt (SI BP S&amp;C CS&amp;TR TR)" userId="e7e82c7e-80c6-42a5-ab71-24588885b7fe" providerId="ADAL" clId="{9A68D976-6B27-41CF-A773-96FB881042A0}" dt="2021-03-24T18:05:47.240" v="0" actId="1076"/>
          <ac:cxnSpMkLst>
            <pc:docMk/>
            <pc:sldMk cId="627141999" sldId="2389"/>
            <ac:cxnSpMk id="431" creationId="{94D88AAD-A0E4-4B9E-8033-8CAA88513CDB}"/>
          </ac:cxnSpMkLst>
        </pc:cxnChg>
      </pc:sldChg>
      <pc:sldChg chg="addSp modSp mod modAnim">
        <pc:chgData name="Müller, Kurt (SI BP S&amp;C CS&amp;TR TR)" userId="e7e82c7e-80c6-42a5-ab71-24588885b7fe" providerId="ADAL" clId="{9A68D976-6B27-41CF-A773-96FB881042A0}" dt="2021-03-24T18:15:47.785" v="69"/>
        <pc:sldMkLst>
          <pc:docMk/>
          <pc:sldMk cId="4211098316" sldId="2527"/>
        </pc:sldMkLst>
        <pc:spChg chg="mod">
          <ac:chgData name="Müller, Kurt (SI BP S&amp;C CS&amp;TR TR)" userId="e7e82c7e-80c6-42a5-ab71-24588885b7fe" providerId="ADAL" clId="{9A68D976-6B27-41CF-A773-96FB881042A0}" dt="2021-03-24T18:15:33.837" v="66" actId="14100"/>
          <ac:spMkLst>
            <pc:docMk/>
            <pc:sldMk cId="4211098316" sldId="2527"/>
            <ac:spMk id="250" creationId="{9BD693E4-C165-4111-8BA8-D70EFB283936}"/>
          </ac:spMkLst>
        </pc:spChg>
        <pc:spChg chg="add mod">
          <ac:chgData name="Müller, Kurt (SI BP S&amp;C CS&amp;TR TR)" userId="e7e82c7e-80c6-42a5-ab71-24588885b7fe" providerId="ADAL" clId="{9A68D976-6B27-41CF-A773-96FB881042A0}" dt="2021-03-24T18:15:38.349" v="68" actId="14100"/>
          <ac:spMkLst>
            <pc:docMk/>
            <pc:sldMk cId="4211098316" sldId="2527"/>
            <ac:spMk id="264" creationId="{5D3FF9C7-DE0B-472A-AD5A-64282F9B4E58}"/>
          </ac:spMkLst>
        </pc:spChg>
      </pc:sldChg>
      <pc:sldChg chg="addSp delSp modSp mod delAnim modAnim">
        <pc:chgData name="Müller, Kurt (SI BP S&amp;C CS&amp;TR TR)" userId="e7e82c7e-80c6-42a5-ab71-24588885b7fe" providerId="ADAL" clId="{9A68D976-6B27-41CF-A773-96FB881042A0}" dt="2021-03-24T18:14:01.390" v="58" actId="1076"/>
        <pc:sldMkLst>
          <pc:docMk/>
          <pc:sldMk cId="3395677285" sldId="2555"/>
        </pc:sldMkLst>
        <pc:spChg chg="mod">
          <ac:chgData name="Müller, Kurt (SI BP S&amp;C CS&amp;TR TR)" userId="e7e82c7e-80c6-42a5-ab71-24588885b7fe" providerId="ADAL" clId="{9A68D976-6B27-41CF-A773-96FB881042A0}" dt="2021-03-24T18:12:29.703" v="45" actId="14100"/>
          <ac:spMkLst>
            <pc:docMk/>
            <pc:sldMk cId="3395677285" sldId="2555"/>
            <ac:spMk id="92" creationId="{9CFBEAFE-16A9-4E43-A9AF-046EE004E582}"/>
          </ac:spMkLst>
        </pc:spChg>
        <pc:spChg chg="mod">
          <ac:chgData name="Müller, Kurt (SI BP S&amp;C CS&amp;TR TR)" userId="e7e82c7e-80c6-42a5-ab71-24588885b7fe" providerId="ADAL" clId="{9A68D976-6B27-41CF-A773-96FB881042A0}" dt="2021-03-24T18:13:54.637" v="56" actId="14100"/>
          <ac:spMkLst>
            <pc:docMk/>
            <pc:sldMk cId="3395677285" sldId="2555"/>
            <ac:spMk id="146" creationId="{16587747-ACFF-4229-92C1-5B4B6199AE75}"/>
          </ac:spMkLst>
        </pc:spChg>
        <pc:grpChg chg="del">
          <ac:chgData name="Müller, Kurt (SI BP S&amp;C CS&amp;TR TR)" userId="e7e82c7e-80c6-42a5-ab71-24588885b7fe" providerId="ADAL" clId="{9A68D976-6B27-41CF-A773-96FB881042A0}" dt="2021-03-24T18:11:50.909" v="32" actId="478"/>
          <ac:grpSpMkLst>
            <pc:docMk/>
            <pc:sldMk cId="3395677285" sldId="2555"/>
            <ac:grpSpMk id="93" creationId="{A9C7ECD7-DCF8-44F6-AB9E-C4F79AF9989D}"/>
          </ac:grpSpMkLst>
        </pc:grpChg>
        <pc:grpChg chg="mod">
          <ac:chgData name="Müller, Kurt (SI BP S&amp;C CS&amp;TR TR)" userId="e7e82c7e-80c6-42a5-ab71-24588885b7fe" providerId="ADAL" clId="{9A68D976-6B27-41CF-A773-96FB881042A0}" dt="2021-03-24T18:13:54.637" v="56" actId="14100"/>
          <ac:grpSpMkLst>
            <pc:docMk/>
            <pc:sldMk cId="3395677285" sldId="2555"/>
            <ac:grpSpMk id="144" creationId="{39A5A16C-8EE3-4146-ADED-81F358E8C5A0}"/>
          </ac:grpSpMkLst>
        </pc:grpChg>
        <pc:grpChg chg="del">
          <ac:chgData name="Müller, Kurt (SI BP S&amp;C CS&amp;TR TR)" userId="e7e82c7e-80c6-42a5-ab71-24588885b7fe" providerId="ADAL" clId="{9A68D976-6B27-41CF-A773-96FB881042A0}" dt="2021-03-24T18:11:52.420" v="33" actId="478"/>
          <ac:grpSpMkLst>
            <pc:docMk/>
            <pc:sldMk cId="3395677285" sldId="2555"/>
            <ac:grpSpMk id="162" creationId="{43D00826-E34C-4891-9AC1-A014197E68BC}"/>
          </ac:grpSpMkLst>
        </pc:grpChg>
        <pc:picChg chg="add mod">
          <ac:chgData name="Müller, Kurt (SI BP S&amp;C CS&amp;TR TR)" userId="e7e82c7e-80c6-42a5-ab71-24588885b7fe" providerId="ADAL" clId="{9A68D976-6B27-41CF-A773-96FB881042A0}" dt="2021-03-24T18:12:34.967" v="47" actId="14100"/>
          <ac:picMkLst>
            <pc:docMk/>
            <pc:sldMk cId="3395677285" sldId="2555"/>
            <ac:picMk id="2" creationId="{29CE2A61-9301-4274-9457-C5FB57B19215}"/>
          </ac:picMkLst>
        </pc:picChg>
        <pc:picChg chg="del">
          <ac:chgData name="Müller, Kurt (SI BP S&amp;C CS&amp;TR TR)" userId="e7e82c7e-80c6-42a5-ab71-24588885b7fe" providerId="ADAL" clId="{9A68D976-6B27-41CF-A773-96FB881042A0}" dt="2021-03-24T18:13:04.924" v="48" actId="478"/>
          <ac:picMkLst>
            <pc:docMk/>
            <pc:sldMk cId="3395677285" sldId="2555"/>
            <ac:picMk id="145" creationId="{FAD6D717-6C07-4D84-9007-6934DCEE1919}"/>
          </ac:picMkLst>
        </pc:picChg>
        <pc:picChg chg="mod">
          <ac:chgData name="Müller, Kurt (SI BP S&amp;C CS&amp;TR TR)" userId="e7e82c7e-80c6-42a5-ab71-24588885b7fe" providerId="ADAL" clId="{9A68D976-6B27-41CF-A773-96FB881042A0}" dt="2021-03-24T18:13:54.637" v="56" actId="14100"/>
          <ac:picMkLst>
            <pc:docMk/>
            <pc:sldMk cId="3395677285" sldId="2555"/>
            <ac:picMk id="147" creationId="{A2A644C0-08DF-433E-A320-FC739D6A0D0E}"/>
          </ac:picMkLst>
        </pc:picChg>
        <pc:picChg chg="add mod modCrop">
          <ac:chgData name="Müller, Kurt (SI BP S&amp;C CS&amp;TR TR)" userId="e7e82c7e-80c6-42a5-ab71-24588885b7fe" providerId="ADAL" clId="{9A68D976-6B27-41CF-A773-96FB881042A0}" dt="2021-03-24T18:14:01.390" v="58" actId="1076"/>
          <ac:picMkLst>
            <pc:docMk/>
            <pc:sldMk cId="3395677285" sldId="2555"/>
            <ac:picMk id="153" creationId="{2A44B6A3-9599-440A-9675-521F4BD92559}"/>
          </ac:picMkLst>
        </pc:picChg>
        <pc:cxnChg chg="mod">
          <ac:chgData name="Müller, Kurt (SI BP S&amp;C CS&amp;TR TR)" userId="e7e82c7e-80c6-42a5-ab71-24588885b7fe" providerId="ADAL" clId="{9A68D976-6B27-41CF-A773-96FB881042A0}" dt="2021-03-24T18:12:15.031" v="40" actId="14100"/>
          <ac:cxnSpMkLst>
            <pc:docMk/>
            <pc:sldMk cId="3395677285" sldId="2555"/>
            <ac:cxnSpMk id="84" creationId="{E37DA4CB-E738-4BD4-B511-23977B11E6F2}"/>
          </ac:cxnSpMkLst>
        </pc:cxnChg>
        <pc:cxnChg chg="mod">
          <ac:chgData name="Müller, Kurt (SI BP S&amp;C CS&amp;TR TR)" userId="e7e82c7e-80c6-42a5-ab71-24588885b7fe" providerId="ADAL" clId="{9A68D976-6B27-41CF-A773-96FB881042A0}" dt="2021-03-24T18:12:19.264" v="41" actId="1076"/>
          <ac:cxnSpMkLst>
            <pc:docMk/>
            <pc:sldMk cId="3395677285" sldId="2555"/>
            <ac:cxnSpMk id="89" creationId="{154F0960-4834-4B25-9DB1-E85AF5DDA62E}"/>
          </ac:cxnSpMkLst>
        </pc:cxnChg>
      </pc:sldChg>
      <pc:sldChg chg="modSp mod">
        <pc:chgData name="Müller, Kurt (SI BP S&amp;C CS&amp;TR TR)" userId="e7e82c7e-80c6-42a5-ab71-24588885b7fe" providerId="ADAL" clId="{9A68D976-6B27-41CF-A773-96FB881042A0}" dt="2021-03-24T18:18:54.101" v="70" actId="1076"/>
        <pc:sldMkLst>
          <pc:docMk/>
          <pc:sldMk cId="4214621097" sldId="2563"/>
        </pc:sldMkLst>
        <pc:picChg chg="mod">
          <ac:chgData name="Müller, Kurt (SI BP S&amp;C CS&amp;TR TR)" userId="e7e82c7e-80c6-42a5-ab71-24588885b7fe" providerId="ADAL" clId="{9A68D976-6B27-41CF-A773-96FB881042A0}" dt="2021-03-24T18:18:54.101" v="70" actId="1076"/>
          <ac:picMkLst>
            <pc:docMk/>
            <pc:sldMk cId="4214621097" sldId="2563"/>
            <ac:picMk id="3" creationId="{8C50B102-354D-4DD9-AB9C-39BDFD64BDA8}"/>
          </ac:picMkLst>
        </pc:picChg>
      </pc:sldChg>
      <pc:sldChg chg="delSp modSp mod">
        <pc:chgData name="Müller, Kurt (SI BP S&amp;C CS&amp;TR TR)" userId="e7e82c7e-80c6-42a5-ab71-24588885b7fe" providerId="ADAL" clId="{9A68D976-6B27-41CF-A773-96FB881042A0}" dt="2021-03-24T18:55:20.950" v="132" actId="478"/>
        <pc:sldMkLst>
          <pc:docMk/>
          <pc:sldMk cId="3026962512" sldId="2566"/>
        </pc:sldMkLst>
        <pc:spChg chg="del">
          <ac:chgData name="Müller, Kurt (SI BP S&amp;C CS&amp;TR TR)" userId="e7e82c7e-80c6-42a5-ab71-24588885b7fe" providerId="ADAL" clId="{9A68D976-6B27-41CF-A773-96FB881042A0}" dt="2021-03-24T18:55:20.950" v="132" actId="478"/>
          <ac:spMkLst>
            <pc:docMk/>
            <pc:sldMk cId="3026962512" sldId="2566"/>
            <ac:spMk id="46" creationId="{12EE9C2A-7AF3-4376-A34F-F8106C3E30CA}"/>
          </ac:spMkLst>
        </pc:spChg>
        <pc:spChg chg="mod">
          <ac:chgData name="Müller, Kurt (SI BP S&amp;C CS&amp;TR TR)" userId="e7e82c7e-80c6-42a5-ab71-24588885b7fe" providerId="ADAL" clId="{9A68D976-6B27-41CF-A773-96FB881042A0}" dt="2021-03-24T18:20:00.882" v="76" actId="1036"/>
          <ac:spMkLst>
            <pc:docMk/>
            <pc:sldMk cId="3026962512" sldId="2566"/>
            <ac:spMk id="311" creationId="{D9F24C8F-2E07-4E3D-8919-EFAEBC1AEABF}"/>
          </ac:spMkLst>
        </pc:spChg>
        <pc:spChg chg="mod">
          <ac:chgData name="Müller, Kurt (SI BP S&amp;C CS&amp;TR TR)" userId="e7e82c7e-80c6-42a5-ab71-24588885b7fe" providerId="ADAL" clId="{9A68D976-6B27-41CF-A773-96FB881042A0}" dt="2021-03-24T18:20:00.882" v="76" actId="1036"/>
          <ac:spMkLst>
            <pc:docMk/>
            <pc:sldMk cId="3026962512" sldId="2566"/>
            <ac:spMk id="313" creationId="{77B17012-937A-49BE-AFEC-502C19805FAE}"/>
          </ac:spMkLst>
        </pc:spChg>
        <pc:spChg chg="mod">
          <ac:chgData name="Müller, Kurt (SI BP S&amp;C CS&amp;TR TR)" userId="e7e82c7e-80c6-42a5-ab71-24588885b7fe" providerId="ADAL" clId="{9A68D976-6B27-41CF-A773-96FB881042A0}" dt="2021-03-24T18:20:00.882" v="76" actId="1036"/>
          <ac:spMkLst>
            <pc:docMk/>
            <pc:sldMk cId="3026962512" sldId="2566"/>
            <ac:spMk id="314" creationId="{104E8B6C-63C7-4852-AA34-2B34E7CC78B6}"/>
          </ac:spMkLst>
        </pc:spChg>
        <pc:spChg chg="mod">
          <ac:chgData name="Müller, Kurt (SI BP S&amp;C CS&amp;TR TR)" userId="e7e82c7e-80c6-42a5-ab71-24588885b7fe" providerId="ADAL" clId="{9A68D976-6B27-41CF-A773-96FB881042A0}" dt="2021-03-24T18:20:00.882" v="76" actId="1036"/>
          <ac:spMkLst>
            <pc:docMk/>
            <pc:sldMk cId="3026962512" sldId="2566"/>
            <ac:spMk id="315" creationId="{48CC50CA-93BF-41D1-A0BF-C297DCBCB6ED}"/>
          </ac:spMkLst>
        </pc:spChg>
        <pc:spChg chg="mod">
          <ac:chgData name="Müller, Kurt (SI BP S&amp;C CS&amp;TR TR)" userId="e7e82c7e-80c6-42a5-ab71-24588885b7fe" providerId="ADAL" clId="{9A68D976-6B27-41CF-A773-96FB881042A0}" dt="2021-03-24T18:20:00.882" v="76" actId="1036"/>
          <ac:spMkLst>
            <pc:docMk/>
            <pc:sldMk cId="3026962512" sldId="2566"/>
            <ac:spMk id="316" creationId="{D6741012-2B0C-493A-8520-A962F18DD625}"/>
          </ac:spMkLst>
        </pc:spChg>
        <pc:spChg chg="mod">
          <ac:chgData name="Müller, Kurt (SI BP S&amp;C CS&amp;TR TR)" userId="e7e82c7e-80c6-42a5-ab71-24588885b7fe" providerId="ADAL" clId="{9A68D976-6B27-41CF-A773-96FB881042A0}" dt="2021-03-24T18:20:00.882" v="76" actId="1036"/>
          <ac:spMkLst>
            <pc:docMk/>
            <pc:sldMk cId="3026962512" sldId="2566"/>
            <ac:spMk id="320" creationId="{8555CEE3-AC6B-4B8D-8510-9F0E93BD2563}"/>
          </ac:spMkLst>
        </pc:spChg>
        <pc:spChg chg="mod">
          <ac:chgData name="Müller, Kurt (SI BP S&amp;C CS&amp;TR TR)" userId="e7e82c7e-80c6-42a5-ab71-24588885b7fe" providerId="ADAL" clId="{9A68D976-6B27-41CF-A773-96FB881042A0}" dt="2021-03-24T18:20:00.882" v="76" actId="1036"/>
          <ac:spMkLst>
            <pc:docMk/>
            <pc:sldMk cId="3026962512" sldId="2566"/>
            <ac:spMk id="321" creationId="{DA8E18FD-A778-487F-8CBB-89F37754C0CF}"/>
          </ac:spMkLst>
        </pc:spChg>
        <pc:spChg chg="mod">
          <ac:chgData name="Müller, Kurt (SI BP S&amp;C CS&amp;TR TR)" userId="e7e82c7e-80c6-42a5-ab71-24588885b7fe" providerId="ADAL" clId="{9A68D976-6B27-41CF-A773-96FB881042A0}" dt="2021-03-24T18:20:00.882" v="76" actId="1036"/>
          <ac:spMkLst>
            <pc:docMk/>
            <pc:sldMk cId="3026962512" sldId="2566"/>
            <ac:spMk id="322" creationId="{73A28762-252C-4E06-B4D2-C39F9760D7E1}"/>
          </ac:spMkLst>
        </pc:spChg>
        <pc:spChg chg="mod">
          <ac:chgData name="Müller, Kurt (SI BP S&amp;C CS&amp;TR TR)" userId="e7e82c7e-80c6-42a5-ab71-24588885b7fe" providerId="ADAL" clId="{9A68D976-6B27-41CF-A773-96FB881042A0}" dt="2021-03-24T18:20:00.882" v="76" actId="1036"/>
          <ac:spMkLst>
            <pc:docMk/>
            <pc:sldMk cId="3026962512" sldId="2566"/>
            <ac:spMk id="323" creationId="{5166BCD8-2366-4FA8-93F0-A427ACA04300}"/>
          </ac:spMkLst>
        </pc:spChg>
        <pc:spChg chg="mod">
          <ac:chgData name="Müller, Kurt (SI BP S&amp;C CS&amp;TR TR)" userId="e7e82c7e-80c6-42a5-ab71-24588885b7fe" providerId="ADAL" clId="{9A68D976-6B27-41CF-A773-96FB881042A0}" dt="2021-03-24T18:20:00.882" v="76" actId="1036"/>
          <ac:spMkLst>
            <pc:docMk/>
            <pc:sldMk cId="3026962512" sldId="2566"/>
            <ac:spMk id="324" creationId="{A7F0E469-31DB-4A43-BC63-5FBD5D465214}"/>
          </ac:spMkLst>
        </pc:spChg>
        <pc:spChg chg="mod">
          <ac:chgData name="Müller, Kurt (SI BP S&amp;C CS&amp;TR TR)" userId="e7e82c7e-80c6-42a5-ab71-24588885b7fe" providerId="ADAL" clId="{9A68D976-6B27-41CF-A773-96FB881042A0}" dt="2021-03-24T18:20:00.882" v="76" actId="1036"/>
          <ac:spMkLst>
            <pc:docMk/>
            <pc:sldMk cId="3026962512" sldId="2566"/>
            <ac:spMk id="325" creationId="{ABE6A146-7E41-4BC7-8FC2-DBE9233F944E}"/>
          </ac:spMkLst>
        </pc:spChg>
        <pc:spChg chg="mod">
          <ac:chgData name="Müller, Kurt (SI BP S&amp;C CS&amp;TR TR)" userId="e7e82c7e-80c6-42a5-ab71-24588885b7fe" providerId="ADAL" clId="{9A68D976-6B27-41CF-A773-96FB881042A0}" dt="2021-03-24T18:20:00.882" v="76" actId="1036"/>
          <ac:spMkLst>
            <pc:docMk/>
            <pc:sldMk cId="3026962512" sldId="2566"/>
            <ac:spMk id="326" creationId="{E4D87E98-3CC3-4E52-A819-4992A6565B97}"/>
          </ac:spMkLst>
        </pc:spChg>
        <pc:spChg chg="mod">
          <ac:chgData name="Müller, Kurt (SI BP S&amp;C CS&amp;TR TR)" userId="e7e82c7e-80c6-42a5-ab71-24588885b7fe" providerId="ADAL" clId="{9A68D976-6B27-41CF-A773-96FB881042A0}" dt="2021-03-24T18:20:00.882" v="76" actId="1036"/>
          <ac:spMkLst>
            <pc:docMk/>
            <pc:sldMk cId="3026962512" sldId="2566"/>
            <ac:spMk id="327" creationId="{DA0FA4A8-7556-4671-BEB3-032708B44841}"/>
          </ac:spMkLst>
        </pc:spChg>
        <pc:spChg chg="mod">
          <ac:chgData name="Müller, Kurt (SI BP S&amp;C CS&amp;TR TR)" userId="e7e82c7e-80c6-42a5-ab71-24588885b7fe" providerId="ADAL" clId="{9A68D976-6B27-41CF-A773-96FB881042A0}" dt="2021-03-24T18:20:00.882" v="76" actId="1036"/>
          <ac:spMkLst>
            <pc:docMk/>
            <pc:sldMk cId="3026962512" sldId="2566"/>
            <ac:spMk id="328" creationId="{A872384F-42BC-4101-BBAB-11CA1E8F9C4F}"/>
          </ac:spMkLst>
        </pc:spChg>
        <pc:spChg chg="mod">
          <ac:chgData name="Müller, Kurt (SI BP S&amp;C CS&amp;TR TR)" userId="e7e82c7e-80c6-42a5-ab71-24588885b7fe" providerId="ADAL" clId="{9A68D976-6B27-41CF-A773-96FB881042A0}" dt="2021-03-24T18:20:00.882" v="76" actId="1036"/>
          <ac:spMkLst>
            <pc:docMk/>
            <pc:sldMk cId="3026962512" sldId="2566"/>
            <ac:spMk id="331" creationId="{7E1DF0E8-0E16-4E64-9C6C-C4B9543F3C3B}"/>
          </ac:spMkLst>
        </pc:spChg>
        <pc:spChg chg="mod">
          <ac:chgData name="Müller, Kurt (SI BP S&amp;C CS&amp;TR TR)" userId="e7e82c7e-80c6-42a5-ab71-24588885b7fe" providerId="ADAL" clId="{9A68D976-6B27-41CF-A773-96FB881042A0}" dt="2021-03-24T18:20:00.882" v="76" actId="1036"/>
          <ac:spMkLst>
            <pc:docMk/>
            <pc:sldMk cId="3026962512" sldId="2566"/>
            <ac:spMk id="333" creationId="{291440DF-5D4D-4F1E-8F46-20FC3BB8FC90}"/>
          </ac:spMkLst>
        </pc:spChg>
        <pc:spChg chg="mod">
          <ac:chgData name="Müller, Kurt (SI BP S&amp;C CS&amp;TR TR)" userId="e7e82c7e-80c6-42a5-ab71-24588885b7fe" providerId="ADAL" clId="{9A68D976-6B27-41CF-A773-96FB881042A0}" dt="2021-03-24T18:20:00.882" v="76" actId="1036"/>
          <ac:spMkLst>
            <pc:docMk/>
            <pc:sldMk cId="3026962512" sldId="2566"/>
            <ac:spMk id="334" creationId="{FC371741-A4B2-4BAA-AA94-6C463167F4ED}"/>
          </ac:spMkLst>
        </pc:spChg>
        <pc:spChg chg="mod">
          <ac:chgData name="Müller, Kurt (SI BP S&amp;C CS&amp;TR TR)" userId="e7e82c7e-80c6-42a5-ab71-24588885b7fe" providerId="ADAL" clId="{9A68D976-6B27-41CF-A773-96FB881042A0}" dt="2021-03-24T18:20:00.882" v="76" actId="1036"/>
          <ac:spMkLst>
            <pc:docMk/>
            <pc:sldMk cId="3026962512" sldId="2566"/>
            <ac:spMk id="335" creationId="{2F382763-F22D-4C66-9AB1-1543F5681BCF}"/>
          </ac:spMkLst>
        </pc:spChg>
        <pc:spChg chg="mod">
          <ac:chgData name="Müller, Kurt (SI BP S&amp;C CS&amp;TR TR)" userId="e7e82c7e-80c6-42a5-ab71-24588885b7fe" providerId="ADAL" clId="{9A68D976-6B27-41CF-A773-96FB881042A0}" dt="2021-03-24T18:20:00.882" v="76" actId="1036"/>
          <ac:spMkLst>
            <pc:docMk/>
            <pc:sldMk cId="3026962512" sldId="2566"/>
            <ac:spMk id="336" creationId="{D305D805-3B8B-4A0D-ACEA-C5075B5E09CD}"/>
          </ac:spMkLst>
        </pc:spChg>
        <pc:spChg chg="mod">
          <ac:chgData name="Müller, Kurt (SI BP S&amp;C CS&amp;TR TR)" userId="e7e82c7e-80c6-42a5-ab71-24588885b7fe" providerId="ADAL" clId="{9A68D976-6B27-41CF-A773-96FB881042A0}" dt="2021-03-24T18:20:00.882" v="76" actId="1036"/>
          <ac:spMkLst>
            <pc:docMk/>
            <pc:sldMk cId="3026962512" sldId="2566"/>
            <ac:spMk id="340" creationId="{32E1768E-5235-4B7F-ABF5-1F16BBB3643C}"/>
          </ac:spMkLst>
        </pc:spChg>
        <pc:spChg chg="mod">
          <ac:chgData name="Müller, Kurt (SI BP S&amp;C CS&amp;TR TR)" userId="e7e82c7e-80c6-42a5-ab71-24588885b7fe" providerId="ADAL" clId="{9A68D976-6B27-41CF-A773-96FB881042A0}" dt="2021-03-24T18:20:00.882" v="76" actId="1036"/>
          <ac:spMkLst>
            <pc:docMk/>
            <pc:sldMk cId="3026962512" sldId="2566"/>
            <ac:spMk id="341" creationId="{1733F00B-7E9A-4598-99EC-4D4AAEE87C75}"/>
          </ac:spMkLst>
        </pc:spChg>
        <pc:spChg chg="mod">
          <ac:chgData name="Müller, Kurt (SI BP S&amp;C CS&amp;TR TR)" userId="e7e82c7e-80c6-42a5-ab71-24588885b7fe" providerId="ADAL" clId="{9A68D976-6B27-41CF-A773-96FB881042A0}" dt="2021-03-24T18:20:00.882" v="76" actId="1036"/>
          <ac:spMkLst>
            <pc:docMk/>
            <pc:sldMk cId="3026962512" sldId="2566"/>
            <ac:spMk id="342" creationId="{A455A99E-92BC-4CA8-BE64-FDB78F58109D}"/>
          </ac:spMkLst>
        </pc:spChg>
        <pc:spChg chg="mod">
          <ac:chgData name="Müller, Kurt (SI BP S&amp;C CS&amp;TR TR)" userId="e7e82c7e-80c6-42a5-ab71-24588885b7fe" providerId="ADAL" clId="{9A68D976-6B27-41CF-A773-96FB881042A0}" dt="2021-03-24T18:20:00.882" v="76" actId="1036"/>
          <ac:spMkLst>
            <pc:docMk/>
            <pc:sldMk cId="3026962512" sldId="2566"/>
            <ac:spMk id="343" creationId="{0811D752-E1AC-4B90-B003-46F74247D479}"/>
          </ac:spMkLst>
        </pc:spChg>
        <pc:spChg chg="mod">
          <ac:chgData name="Müller, Kurt (SI BP S&amp;C CS&amp;TR TR)" userId="e7e82c7e-80c6-42a5-ab71-24588885b7fe" providerId="ADAL" clId="{9A68D976-6B27-41CF-A773-96FB881042A0}" dt="2021-03-24T18:20:00.882" v="76" actId="1036"/>
          <ac:spMkLst>
            <pc:docMk/>
            <pc:sldMk cId="3026962512" sldId="2566"/>
            <ac:spMk id="344" creationId="{24A6C3C6-0C7E-4D82-820D-52FC8DD56CC0}"/>
          </ac:spMkLst>
        </pc:spChg>
        <pc:spChg chg="mod">
          <ac:chgData name="Müller, Kurt (SI BP S&amp;C CS&amp;TR TR)" userId="e7e82c7e-80c6-42a5-ab71-24588885b7fe" providerId="ADAL" clId="{9A68D976-6B27-41CF-A773-96FB881042A0}" dt="2021-03-24T18:20:00.882" v="76" actId="1036"/>
          <ac:spMkLst>
            <pc:docMk/>
            <pc:sldMk cId="3026962512" sldId="2566"/>
            <ac:spMk id="345" creationId="{0A6A1738-9884-4017-8007-1A721FE7DBB3}"/>
          </ac:spMkLst>
        </pc:spChg>
        <pc:spChg chg="mod">
          <ac:chgData name="Müller, Kurt (SI BP S&amp;C CS&amp;TR TR)" userId="e7e82c7e-80c6-42a5-ab71-24588885b7fe" providerId="ADAL" clId="{9A68D976-6B27-41CF-A773-96FB881042A0}" dt="2021-03-24T18:20:00.882" v="76" actId="1036"/>
          <ac:spMkLst>
            <pc:docMk/>
            <pc:sldMk cId="3026962512" sldId="2566"/>
            <ac:spMk id="346" creationId="{445A1DA7-D555-48E0-979A-98F99D527974}"/>
          </ac:spMkLst>
        </pc:spChg>
        <pc:spChg chg="mod">
          <ac:chgData name="Müller, Kurt (SI BP S&amp;C CS&amp;TR TR)" userId="e7e82c7e-80c6-42a5-ab71-24588885b7fe" providerId="ADAL" clId="{9A68D976-6B27-41CF-A773-96FB881042A0}" dt="2021-03-24T18:20:00.882" v="76" actId="1036"/>
          <ac:spMkLst>
            <pc:docMk/>
            <pc:sldMk cId="3026962512" sldId="2566"/>
            <ac:spMk id="347" creationId="{103029F7-4593-43D5-8750-A4333F46AF0E}"/>
          </ac:spMkLst>
        </pc:spChg>
        <pc:spChg chg="mod">
          <ac:chgData name="Müller, Kurt (SI BP S&amp;C CS&amp;TR TR)" userId="e7e82c7e-80c6-42a5-ab71-24588885b7fe" providerId="ADAL" clId="{9A68D976-6B27-41CF-A773-96FB881042A0}" dt="2021-03-24T18:20:00.882" v="76" actId="1036"/>
          <ac:spMkLst>
            <pc:docMk/>
            <pc:sldMk cId="3026962512" sldId="2566"/>
            <ac:spMk id="348" creationId="{A9CCAF45-E143-42FF-ADAE-7AAB4438C39E}"/>
          </ac:spMkLst>
        </pc:spChg>
        <pc:spChg chg="mod">
          <ac:chgData name="Müller, Kurt (SI BP S&amp;C CS&amp;TR TR)" userId="e7e82c7e-80c6-42a5-ab71-24588885b7fe" providerId="ADAL" clId="{9A68D976-6B27-41CF-A773-96FB881042A0}" dt="2021-03-24T18:20:00.882" v="76" actId="1036"/>
          <ac:spMkLst>
            <pc:docMk/>
            <pc:sldMk cId="3026962512" sldId="2566"/>
            <ac:spMk id="351" creationId="{F51E3DA9-8DC2-4CAB-B29C-3463046078A7}"/>
          </ac:spMkLst>
        </pc:spChg>
        <pc:spChg chg="mod">
          <ac:chgData name="Müller, Kurt (SI BP S&amp;C CS&amp;TR TR)" userId="e7e82c7e-80c6-42a5-ab71-24588885b7fe" providerId="ADAL" clId="{9A68D976-6B27-41CF-A773-96FB881042A0}" dt="2021-03-24T18:20:00.882" v="76" actId="1036"/>
          <ac:spMkLst>
            <pc:docMk/>
            <pc:sldMk cId="3026962512" sldId="2566"/>
            <ac:spMk id="353" creationId="{F677CB0C-8058-4A4F-A931-0A5A2E9B6EFE}"/>
          </ac:spMkLst>
        </pc:spChg>
        <pc:spChg chg="mod">
          <ac:chgData name="Müller, Kurt (SI BP S&amp;C CS&amp;TR TR)" userId="e7e82c7e-80c6-42a5-ab71-24588885b7fe" providerId="ADAL" clId="{9A68D976-6B27-41CF-A773-96FB881042A0}" dt="2021-03-24T18:20:00.882" v="76" actId="1036"/>
          <ac:spMkLst>
            <pc:docMk/>
            <pc:sldMk cId="3026962512" sldId="2566"/>
            <ac:spMk id="354" creationId="{CE179DBB-2E1D-4940-8DD2-9917ADD5485B}"/>
          </ac:spMkLst>
        </pc:spChg>
        <pc:spChg chg="mod">
          <ac:chgData name="Müller, Kurt (SI BP S&amp;C CS&amp;TR TR)" userId="e7e82c7e-80c6-42a5-ab71-24588885b7fe" providerId="ADAL" clId="{9A68D976-6B27-41CF-A773-96FB881042A0}" dt="2021-03-24T18:20:00.882" v="76" actId="1036"/>
          <ac:spMkLst>
            <pc:docMk/>
            <pc:sldMk cId="3026962512" sldId="2566"/>
            <ac:spMk id="355" creationId="{F459E822-F99D-4884-AF74-DCF50146F66B}"/>
          </ac:spMkLst>
        </pc:spChg>
        <pc:spChg chg="mod">
          <ac:chgData name="Müller, Kurt (SI BP S&amp;C CS&amp;TR TR)" userId="e7e82c7e-80c6-42a5-ab71-24588885b7fe" providerId="ADAL" clId="{9A68D976-6B27-41CF-A773-96FB881042A0}" dt="2021-03-24T18:20:00.882" v="76" actId="1036"/>
          <ac:spMkLst>
            <pc:docMk/>
            <pc:sldMk cId="3026962512" sldId="2566"/>
            <ac:spMk id="356" creationId="{0F77FB6B-7A69-4727-A0EC-240EB7A45A11}"/>
          </ac:spMkLst>
        </pc:spChg>
        <pc:spChg chg="mod">
          <ac:chgData name="Müller, Kurt (SI BP S&amp;C CS&amp;TR TR)" userId="e7e82c7e-80c6-42a5-ab71-24588885b7fe" providerId="ADAL" clId="{9A68D976-6B27-41CF-A773-96FB881042A0}" dt="2021-03-24T18:20:00.882" v="76" actId="1036"/>
          <ac:spMkLst>
            <pc:docMk/>
            <pc:sldMk cId="3026962512" sldId="2566"/>
            <ac:spMk id="360" creationId="{87854372-957F-44C9-A9D2-E75C627DE531}"/>
          </ac:spMkLst>
        </pc:spChg>
        <pc:spChg chg="mod">
          <ac:chgData name="Müller, Kurt (SI BP S&amp;C CS&amp;TR TR)" userId="e7e82c7e-80c6-42a5-ab71-24588885b7fe" providerId="ADAL" clId="{9A68D976-6B27-41CF-A773-96FB881042A0}" dt="2021-03-24T18:20:00.882" v="76" actId="1036"/>
          <ac:spMkLst>
            <pc:docMk/>
            <pc:sldMk cId="3026962512" sldId="2566"/>
            <ac:spMk id="361" creationId="{ACA15871-8094-48D7-BD73-B76D6322DC3E}"/>
          </ac:spMkLst>
        </pc:spChg>
        <pc:spChg chg="mod">
          <ac:chgData name="Müller, Kurt (SI BP S&amp;C CS&amp;TR TR)" userId="e7e82c7e-80c6-42a5-ab71-24588885b7fe" providerId="ADAL" clId="{9A68D976-6B27-41CF-A773-96FB881042A0}" dt="2021-03-24T18:20:00.882" v="76" actId="1036"/>
          <ac:spMkLst>
            <pc:docMk/>
            <pc:sldMk cId="3026962512" sldId="2566"/>
            <ac:spMk id="362" creationId="{F7D3F97B-3DA1-454B-B668-C437451E91C0}"/>
          </ac:spMkLst>
        </pc:spChg>
        <pc:spChg chg="mod">
          <ac:chgData name="Müller, Kurt (SI BP S&amp;C CS&amp;TR TR)" userId="e7e82c7e-80c6-42a5-ab71-24588885b7fe" providerId="ADAL" clId="{9A68D976-6B27-41CF-A773-96FB881042A0}" dt="2021-03-24T18:20:00.882" v="76" actId="1036"/>
          <ac:spMkLst>
            <pc:docMk/>
            <pc:sldMk cId="3026962512" sldId="2566"/>
            <ac:spMk id="363" creationId="{A2943DF6-68E7-4213-BB0A-87889F7C65A3}"/>
          </ac:spMkLst>
        </pc:spChg>
        <pc:spChg chg="mod">
          <ac:chgData name="Müller, Kurt (SI BP S&amp;C CS&amp;TR TR)" userId="e7e82c7e-80c6-42a5-ab71-24588885b7fe" providerId="ADAL" clId="{9A68D976-6B27-41CF-A773-96FB881042A0}" dt="2021-03-24T18:20:00.882" v="76" actId="1036"/>
          <ac:spMkLst>
            <pc:docMk/>
            <pc:sldMk cId="3026962512" sldId="2566"/>
            <ac:spMk id="364" creationId="{B69D6E90-FBE9-4C42-B25B-653402904B48}"/>
          </ac:spMkLst>
        </pc:spChg>
        <pc:spChg chg="mod">
          <ac:chgData name="Müller, Kurt (SI BP S&amp;C CS&amp;TR TR)" userId="e7e82c7e-80c6-42a5-ab71-24588885b7fe" providerId="ADAL" clId="{9A68D976-6B27-41CF-A773-96FB881042A0}" dt="2021-03-24T18:20:00.882" v="76" actId="1036"/>
          <ac:spMkLst>
            <pc:docMk/>
            <pc:sldMk cId="3026962512" sldId="2566"/>
            <ac:spMk id="365" creationId="{B04950B5-EF81-46F6-BCF6-750E192EA591}"/>
          </ac:spMkLst>
        </pc:spChg>
        <pc:spChg chg="mod">
          <ac:chgData name="Müller, Kurt (SI BP S&amp;C CS&amp;TR TR)" userId="e7e82c7e-80c6-42a5-ab71-24588885b7fe" providerId="ADAL" clId="{9A68D976-6B27-41CF-A773-96FB881042A0}" dt="2021-03-24T18:20:00.882" v="76" actId="1036"/>
          <ac:spMkLst>
            <pc:docMk/>
            <pc:sldMk cId="3026962512" sldId="2566"/>
            <ac:spMk id="366" creationId="{7A795898-1660-4C3D-B98D-9B4CE8FBBF68}"/>
          </ac:spMkLst>
        </pc:spChg>
        <pc:spChg chg="mod">
          <ac:chgData name="Müller, Kurt (SI BP S&amp;C CS&amp;TR TR)" userId="e7e82c7e-80c6-42a5-ab71-24588885b7fe" providerId="ADAL" clId="{9A68D976-6B27-41CF-A773-96FB881042A0}" dt="2021-03-24T18:20:00.882" v="76" actId="1036"/>
          <ac:spMkLst>
            <pc:docMk/>
            <pc:sldMk cId="3026962512" sldId="2566"/>
            <ac:spMk id="367" creationId="{A5D12CFF-B44D-411E-A534-CAB45BB2525A}"/>
          </ac:spMkLst>
        </pc:spChg>
        <pc:spChg chg="mod">
          <ac:chgData name="Müller, Kurt (SI BP S&amp;C CS&amp;TR TR)" userId="e7e82c7e-80c6-42a5-ab71-24588885b7fe" providerId="ADAL" clId="{9A68D976-6B27-41CF-A773-96FB881042A0}" dt="2021-03-24T18:20:00.882" v="76" actId="1036"/>
          <ac:spMkLst>
            <pc:docMk/>
            <pc:sldMk cId="3026962512" sldId="2566"/>
            <ac:spMk id="368" creationId="{F1829F94-AA22-432A-8A1D-8366BC042BB9}"/>
          </ac:spMkLst>
        </pc:spChg>
        <pc:grpChg chg="mod">
          <ac:chgData name="Müller, Kurt (SI BP S&amp;C CS&amp;TR TR)" userId="e7e82c7e-80c6-42a5-ab71-24588885b7fe" providerId="ADAL" clId="{9A68D976-6B27-41CF-A773-96FB881042A0}" dt="2021-03-24T18:20:00.882" v="76" actId="1036"/>
          <ac:grpSpMkLst>
            <pc:docMk/>
            <pc:sldMk cId="3026962512" sldId="2566"/>
            <ac:grpSpMk id="309" creationId="{8EFE7874-D127-4682-A3E8-286A78D67C43}"/>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10" creationId="{0493FAEA-331C-4CEA-BD37-38EB1915B7D6}"/>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12" creationId="{721DE9B5-9B11-4609-99BC-0E73D80A5734}"/>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29" creationId="{F06DA6F1-0CC6-43CA-A643-4C408E3AB3F2}"/>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30" creationId="{0F61AFE8-4951-481A-9EA1-47972153D0D8}"/>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32" creationId="{A41E2253-247E-481B-BF39-E1B078160B08}"/>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49" creationId="{ABFFAEB1-16FF-4C66-8DF3-7CF4E8781778}"/>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50" creationId="{0428C487-F3CD-45ED-8E1D-4C54FD97F43E}"/>
          </ac:grpSpMkLst>
        </pc:grpChg>
        <pc:grpChg chg="mod">
          <ac:chgData name="Müller, Kurt (SI BP S&amp;C CS&amp;TR TR)" userId="e7e82c7e-80c6-42a5-ab71-24588885b7fe" providerId="ADAL" clId="{9A68D976-6B27-41CF-A773-96FB881042A0}" dt="2021-03-24T18:20:00.882" v="76" actId="1036"/>
          <ac:grpSpMkLst>
            <pc:docMk/>
            <pc:sldMk cId="3026962512" sldId="2566"/>
            <ac:grpSpMk id="352" creationId="{20FE736D-B577-4169-95D1-74EFBD062FB0}"/>
          </ac:grpSpMkLst>
        </pc:grpChg>
        <pc:picChg chg="del">
          <ac:chgData name="Müller, Kurt (SI BP S&amp;C CS&amp;TR TR)" userId="e7e82c7e-80c6-42a5-ab71-24588885b7fe" providerId="ADAL" clId="{9A68D976-6B27-41CF-A773-96FB881042A0}" dt="2021-03-24T18:55:19.906" v="131" actId="478"/>
          <ac:picMkLst>
            <pc:docMk/>
            <pc:sldMk cId="3026962512" sldId="2566"/>
            <ac:picMk id="5" creationId="{2512C25A-7DC9-47B1-A3AC-BAB3B9B50C79}"/>
          </ac:picMkLst>
        </pc:picChg>
      </pc:sldChg>
      <pc:sldChg chg="addSp delSp modSp add mod">
        <pc:chgData name="Müller, Kurt (SI BP S&amp;C CS&amp;TR TR)" userId="e7e82c7e-80c6-42a5-ab71-24588885b7fe" providerId="ADAL" clId="{9A68D976-6B27-41CF-A773-96FB881042A0}" dt="2021-03-24T18:11:04.764" v="31" actId="14100"/>
        <pc:sldMkLst>
          <pc:docMk/>
          <pc:sldMk cId="2815062650" sldId="2567"/>
        </pc:sldMkLst>
        <pc:spChg chg="mod">
          <ac:chgData name="Müller, Kurt (SI BP S&amp;C CS&amp;TR TR)" userId="e7e82c7e-80c6-42a5-ab71-24588885b7fe" providerId="ADAL" clId="{9A68D976-6B27-41CF-A773-96FB881042A0}" dt="2021-03-24T18:10:48.332" v="27" actId="206"/>
          <ac:spMkLst>
            <pc:docMk/>
            <pc:sldMk cId="2815062650" sldId="2567"/>
            <ac:spMk id="13" creationId="{773F83D3-48C6-4195-90D4-A98271A5B5BA}"/>
          </ac:spMkLst>
        </pc:spChg>
        <pc:spChg chg="mod">
          <ac:chgData name="Müller, Kurt (SI BP S&amp;C CS&amp;TR TR)" userId="e7e82c7e-80c6-42a5-ab71-24588885b7fe" providerId="ADAL" clId="{9A68D976-6B27-41CF-A773-96FB881042A0}" dt="2021-03-24T18:10:35.119" v="24" actId="14100"/>
          <ac:spMkLst>
            <pc:docMk/>
            <pc:sldMk cId="2815062650" sldId="2567"/>
            <ac:spMk id="22" creationId="{F7B75921-170C-44AB-ABF0-CE8BA51F492F}"/>
          </ac:spMkLst>
        </pc:spChg>
        <pc:spChg chg="del">
          <ac:chgData name="Müller, Kurt (SI BP S&amp;C CS&amp;TR TR)" userId="e7e82c7e-80c6-42a5-ab71-24588885b7fe" providerId="ADAL" clId="{9A68D976-6B27-41CF-A773-96FB881042A0}" dt="2021-03-24T18:08:58.328" v="13" actId="478"/>
          <ac:spMkLst>
            <pc:docMk/>
            <pc:sldMk cId="2815062650" sldId="2567"/>
            <ac:spMk id="149" creationId="{8D61014E-D985-48CC-8B68-C228B50F1EA6}"/>
          </ac:spMkLst>
        </pc:spChg>
        <pc:spChg chg="del">
          <ac:chgData name="Müller, Kurt (SI BP S&amp;C CS&amp;TR TR)" userId="e7e82c7e-80c6-42a5-ab71-24588885b7fe" providerId="ADAL" clId="{9A68D976-6B27-41CF-A773-96FB881042A0}" dt="2021-03-24T18:08:58.328" v="13" actId="478"/>
          <ac:spMkLst>
            <pc:docMk/>
            <pc:sldMk cId="2815062650" sldId="2567"/>
            <ac:spMk id="150" creationId="{BF1F70F8-3350-49E8-9358-4595A22D8B24}"/>
          </ac:spMkLst>
        </pc:spChg>
        <pc:spChg chg="del">
          <ac:chgData name="Müller, Kurt (SI BP S&amp;C CS&amp;TR TR)" userId="e7e82c7e-80c6-42a5-ab71-24588885b7fe" providerId="ADAL" clId="{9A68D976-6B27-41CF-A773-96FB881042A0}" dt="2021-03-24T18:08:58.328" v="13" actId="478"/>
          <ac:spMkLst>
            <pc:docMk/>
            <pc:sldMk cId="2815062650" sldId="2567"/>
            <ac:spMk id="151" creationId="{06676118-D1FA-48AA-99C3-ACA1750B005D}"/>
          </ac:spMkLst>
        </pc:spChg>
        <pc:spChg chg="del">
          <ac:chgData name="Müller, Kurt (SI BP S&amp;C CS&amp;TR TR)" userId="e7e82c7e-80c6-42a5-ab71-24588885b7fe" providerId="ADAL" clId="{9A68D976-6B27-41CF-A773-96FB881042A0}" dt="2021-03-24T18:08:58.328" v="13" actId="478"/>
          <ac:spMkLst>
            <pc:docMk/>
            <pc:sldMk cId="2815062650" sldId="2567"/>
            <ac:spMk id="161" creationId="{8B7A1944-C053-4BE5-87C9-A20F14DFB781}"/>
          </ac:spMkLst>
        </pc:spChg>
        <pc:spChg chg="mod">
          <ac:chgData name="Müller, Kurt (SI BP S&amp;C CS&amp;TR TR)" userId="e7e82c7e-80c6-42a5-ab71-24588885b7fe" providerId="ADAL" clId="{9A68D976-6B27-41CF-A773-96FB881042A0}" dt="2021-03-24T18:09:07.349" v="16" actId="6549"/>
          <ac:spMkLst>
            <pc:docMk/>
            <pc:sldMk cId="2815062650" sldId="2567"/>
            <ac:spMk id="228" creationId="{0D7025C6-8DB3-4316-9428-FA465B3B3196}"/>
          </ac:spMkLst>
        </pc:spChg>
        <pc:spChg chg="mod">
          <ac:chgData name="Müller, Kurt (SI BP S&amp;C CS&amp;TR TR)" userId="e7e82c7e-80c6-42a5-ab71-24588885b7fe" providerId="ADAL" clId="{9A68D976-6B27-41CF-A773-96FB881042A0}" dt="2021-03-24T18:09:09.663" v="17" actId="6549"/>
          <ac:spMkLst>
            <pc:docMk/>
            <pc:sldMk cId="2815062650" sldId="2567"/>
            <ac:spMk id="268" creationId="{62A5C837-6992-4886-A8DB-DED58DDE97C8}"/>
          </ac:spMkLst>
        </pc:spChg>
        <pc:spChg chg="mod">
          <ac:chgData name="Müller, Kurt (SI BP S&amp;C CS&amp;TR TR)" userId="e7e82c7e-80c6-42a5-ab71-24588885b7fe" providerId="ADAL" clId="{9A68D976-6B27-41CF-A773-96FB881042A0}" dt="2021-03-24T18:09:02.045" v="14" actId="6549"/>
          <ac:spMkLst>
            <pc:docMk/>
            <pc:sldMk cId="2815062650" sldId="2567"/>
            <ac:spMk id="279" creationId="{C8093FC4-FA6C-4062-8195-0E6F2937CD36}"/>
          </ac:spMkLst>
        </pc:spChg>
        <pc:spChg chg="mod">
          <ac:chgData name="Müller, Kurt (SI BP S&amp;C CS&amp;TR TR)" userId="e7e82c7e-80c6-42a5-ab71-24588885b7fe" providerId="ADAL" clId="{9A68D976-6B27-41CF-A773-96FB881042A0}" dt="2021-03-24T18:09:04.394" v="15" actId="6549"/>
          <ac:spMkLst>
            <pc:docMk/>
            <pc:sldMk cId="2815062650" sldId="2567"/>
            <ac:spMk id="294" creationId="{A324D758-C2E6-4433-86E4-988B98697DFC}"/>
          </ac:spMkLst>
        </pc:spChg>
        <pc:cxnChg chg="del">
          <ac:chgData name="Müller, Kurt (SI BP S&amp;C CS&amp;TR TR)" userId="e7e82c7e-80c6-42a5-ab71-24588885b7fe" providerId="ADAL" clId="{9A68D976-6B27-41CF-A773-96FB881042A0}" dt="2021-03-24T18:09:26.950" v="18" actId="478"/>
          <ac:cxnSpMkLst>
            <pc:docMk/>
            <pc:sldMk cId="2815062650" sldId="2567"/>
            <ac:cxnSpMk id="8" creationId="{54F11B22-202E-46EF-A42B-156978C3AA06}"/>
          </ac:cxnSpMkLst>
        </pc:cxnChg>
        <pc:cxnChg chg="add mod">
          <ac:chgData name="Müller, Kurt (SI BP S&amp;C CS&amp;TR TR)" userId="e7e82c7e-80c6-42a5-ab71-24588885b7fe" providerId="ADAL" clId="{9A68D976-6B27-41CF-A773-96FB881042A0}" dt="2021-03-24T18:10:55.556" v="28" actId="1076"/>
          <ac:cxnSpMkLst>
            <pc:docMk/>
            <pc:sldMk cId="2815062650" sldId="2567"/>
            <ac:cxnSpMk id="176" creationId="{4A2639E8-6D40-4182-92AF-8E0E516BB93F}"/>
          </ac:cxnSpMkLst>
        </pc:cxnChg>
        <pc:cxnChg chg="mod">
          <ac:chgData name="Müller, Kurt (SI BP S&amp;C CS&amp;TR TR)" userId="e7e82c7e-80c6-42a5-ab71-24588885b7fe" providerId="ADAL" clId="{9A68D976-6B27-41CF-A773-96FB881042A0}" dt="2021-03-24T18:11:04.764" v="31" actId="14100"/>
          <ac:cxnSpMkLst>
            <pc:docMk/>
            <pc:sldMk cId="2815062650" sldId="2567"/>
            <ac:cxnSpMk id="242" creationId="{BF4DE134-DA1D-474D-A099-668BF6A40D5F}"/>
          </ac:cxnSpMkLst>
        </pc:cxnChg>
        <pc:cxnChg chg="mod">
          <ac:chgData name="Müller, Kurt (SI BP S&amp;C CS&amp;TR TR)" userId="e7e82c7e-80c6-42a5-ab71-24588885b7fe" providerId="ADAL" clId="{9A68D976-6B27-41CF-A773-96FB881042A0}" dt="2021-03-24T18:10:58.820" v="29" actId="14100"/>
          <ac:cxnSpMkLst>
            <pc:docMk/>
            <pc:sldMk cId="2815062650" sldId="2567"/>
            <ac:cxnSpMk id="257" creationId="{92222AC8-75E5-4563-9299-47B977EE3F6B}"/>
          </ac:cxnSpMkLst>
        </pc:cxnChg>
        <pc:cxnChg chg="mod">
          <ac:chgData name="Müller, Kurt (SI BP S&amp;C CS&amp;TR TR)" userId="e7e82c7e-80c6-42a5-ab71-24588885b7fe" providerId="ADAL" clId="{9A68D976-6B27-41CF-A773-96FB881042A0}" dt="2021-03-24T18:11:01.805" v="30" actId="14100"/>
          <ac:cxnSpMkLst>
            <pc:docMk/>
            <pc:sldMk cId="2815062650" sldId="2567"/>
            <ac:cxnSpMk id="293" creationId="{B66D1D97-7255-44BD-AC77-E20217794143}"/>
          </ac:cxnSpMkLst>
        </pc:cxnChg>
      </pc:sldChg>
      <pc:sldChg chg="addSp delSp modSp add mod modAnim">
        <pc:chgData name="Müller, Kurt (SI BP S&amp;C CS&amp;TR TR)" userId="e7e82c7e-80c6-42a5-ab71-24588885b7fe" providerId="ADAL" clId="{9A68D976-6B27-41CF-A773-96FB881042A0}" dt="2021-03-24T18:58:06.463" v="259" actId="14734"/>
        <pc:sldMkLst>
          <pc:docMk/>
          <pc:sldMk cId="1162615204" sldId="2568"/>
        </pc:sldMkLst>
        <pc:spChg chg="add mod">
          <ac:chgData name="Müller, Kurt (SI BP S&amp;C CS&amp;TR TR)" userId="e7e82c7e-80c6-42a5-ab71-24588885b7fe" providerId="ADAL" clId="{9A68D976-6B27-41CF-A773-96FB881042A0}" dt="2021-03-24T18:55:59.646" v="159" actId="1076"/>
          <ac:spMkLst>
            <pc:docMk/>
            <pc:sldMk cId="1162615204" sldId="2568"/>
            <ac:spMk id="2" creationId="{EF4B4D07-836E-4BA9-A34D-C48B253D0D06}"/>
          </ac:spMkLst>
        </pc:spChg>
        <pc:spChg chg="del">
          <ac:chgData name="Müller, Kurt (SI BP S&amp;C CS&amp;TR TR)" userId="e7e82c7e-80c6-42a5-ab71-24588885b7fe" providerId="ADAL" clId="{9A68D976-6B27-41CF-A773-96FB881042A0}" dt="2021-03-24T18:55:11.370" v="128" actId="478"/>
          <ac:spMkLst>
            <pc:docMk/>
            <pc:sldMk cId="1162615204" sldId="2568"/>
            <ac:spMk id="7" creationId="{AEFB570C-2B79-477D-92D8-29EF5FEA4B8D}"/>
          </ac:spMkLst>
        </pc:spChg>
        <pc:spChg chg="del">
          <ac:chgData name="Müller, Kurt (SI BP S&amp;C CS&amp;TR TR)" userId="e7e82c7e-80c6-42a5-ab71-24588885b7fe" providerId="ADAL" clId="{9A68D976-6B27-41CF-A773-96FB881042A0}" dt="2021-03-24T18:55:11.370" v="128" actId="478"/>
          <ac:spMkLst>
            <pc:docMk/>
            <pc:sldMk cId="1162615204" sldId="2568"/>
            <ac:spMk id="8" creationId="{89154655-216A-478F-8D48-BE5C48C25747}"/>
          </ac:spMkLst>
        </pc:spChg>
        <pc:spChg chg="del">
          <ac:chgData name="Müller, Kurt (SI BP S&amp;C CS&amp;TR TR)" userId="e7e82c7e-80c6-42a5-ab71-24588885b7fe" providerId="ADAL" clId="{9A68D976-6B27-41CF-A773-96FB881042A0}" dt="2021-03-24T18:55:11.370" v="128" actId="478"/>
          <ac:spMkLst>
            <pc:docMk/>
            <pc:sldMk cId="1162615204" sldId="2568"/>
            <ac:spMk id="17" creationId="{316058D5-16F2-426F-9CFB-629D9F03B513}"/>
          </ac:spMkLst>
        </pc:spChg>
        <pc:spChg chg="del">
          <ac:chgData name="Müller, Kurt (SI BP S&amp;C CS&amp;TR TR)" userId="e7e82c7e-80c6-42a5-ab71-24588885b7fe" providerId="ADAL" clId="{9A68D976-6B27-41CF-A773-96FB881042A0}" dt="2021-03-24T18:55:11.370" v="128" actId="478"/>
          <ac:spMkLst>
            <pc:docMk/>
            <pc:sldMk cId="1162615204" sldId="2568"/>
            <ac:spMk id="19" creationId="{1BF96094-1E93-41FB-A19C-756E04F07076}"/>
          </ac:spMkLst>
        </pc:spChg>
        <pc:spChg chg="del">
          <ac:chgData name="Müller, Kurt (SI BP S&amp;C CS&amp;TR TR)" userId="e7e82c7e-80c6-42a5-ab71-24588885b7fe" providerId="ADAL" clId="{9A68D976-6B27-41CF-A773-96FB881042A0}" dt="2021-03-24T18:55:11.370" v="128" actId="478"/>
          <ac:spMkLst>
            <pc:docMk/>
            <pc:sldMk cId="1162615204" sldId="2568"/>
            <ac:spMk id="20" creationId="{B55280FF-36C0-43D8-8C4A-F4B796C8A265}"/>
          </ac:spMkLst>
        </pc:spChg>
        <pc:spChg chg="del">
          <ac:chgData name="Müller, Kurt (SI BP S&amp;C CS&amp;TR TR)" userId="e7e82c7e-80c6-42a5-ab71-24588885b7fe" providerId="ADAL" clId="{9A68D976-6B27-41CF-A773-96FB881042A0}" dt="2021-03-24T18:55:11.370" v="128" actId="478"/>
          <ac:spMkLst>
            <pc:docMk/>
            <pc:sldMk cId="1162615204" sldId="2568"/>
            <ac:spMk id="21" creationId="{83CCA0F2-B07C-4F7C-90CD-1974289B28DD}"/>
          </ac:spMkLst>
        </pc:spChg>
        <pc:spChg chg="del">
          <ac:chgData name="Müller, Kurt (SI BP S&amp;C CS&amp;TR TR)" userId="e7e82c7e-80c6-42a5-ab71-24588885b7fe" providerId="ADAL" clId="{9A68D976-6B27-41CF-A773-96FB881042A0}" dt="2021-03-24T18:55:11.370" v="128" actId="478"/>
          <ac:spMkLst>
            <pc:docMk/>
            <pc:sldMk cId="1162615204" sldId="2568"/>
            <ac:spMk id="23" creationId="{5B50283A-4EFA-4E2B-A982-B03E5005B09C}"/>
          </ac:spMkLst>
        </pc:spChg>
        <pc:spChg chg="del">
          <ac:chgData name="Müller, Kurt (SI BP S&amp;C CS&amp;TR TR)" userId="e7e82c7e-80c6-42a5-ab71-24588885b7fe" providerId="ADAL" clId="{9A68D976-6B27-41CF-A773-96FB881042A0}" dt="2021-03-24T18:55:11.370" v="128" actId="478"/>
          <ac:spMkLst>
            <pc:docMk/>
            <pc:sldMk cId="1162615204" sldId="2568"/>
            <ac:spMk id="24" creationId="{BCCB8BDB-924A-45FF-8B35-BDA76E9EA881}"/>
          </ac:spMkLst>
        </pc:spChg>
        <pc:spChg chg="mod">
          <ac:chgData name="Müller, Kurt (SI BP S&amp;C CS&amp;TR TR)" userId="e7e82c7e-80c6-42a5-ab71-24588885b7fe" providerId="ADAL" clId="{9A68D976-6B27-41CF-A773-96FB881042A0}" dt="2021-03-24T18:55:04.850" v="127" actId="20577"/>
          <ac:spMkLst>
            <pc:docMk/>
            <pc:sldMk cId="1162615204" sldId="2568"/>
            <ac:spMk id="41" creationId="{ABACFB30-994A-4B20-8B0F-D485865264A8}"/>
          </ac:spMkLst>
        </pc:spChg>
        <pc:spChg chg="del">
          <ac:chgData name="Müller, Kurt (SI BP S&amp;C CS&amp;TR TR)" userId="e7e82c7e-80c6-42a5-ab71-24588885b7fe" providerId="ADAL" clId="{9A68D976-6B27-41CF-A773-96FB881042A0}" dt="2021-03-24T18:55:14.284" v="130" actId="478"/>
          <ac:spMkLst>
            <pc:docMk/>
            <pc:sldMk cId="1162615204" sldId="2568"/>
            <ac:spMk id="46" creationId="{12EE9C2A-7AF3-4376-A34F-F8106C3E30CA}"/>
          </ac:spMkLst>
        </pc:spChg>
        <pc:spChg chg="del">
          <ac:chgData name="Müller, Kurt (SI BP S&amp;C CS&amp;TR TR)" userId="e7e82c7e-80c6-42a5-ab71-24588885b7fe" providerId="ADAL" clId="{9A68D976-6B27-41CF-A773-96FB881042A0}" dt="2021-03-24T18:55:11.370" v="128" actId="478"/>
          <ac:spMkLst>
            <pc:docMk/>
            <pc:sldMk cId="1162615204" sldId="2568"/>
            <ac:spMk id="303" creationId="{9F1995A1-B05B-4D34-8F6C-1CD6483AEC51}"/>
          </ac:spMkLst>
        </pc:spChg>
        <pc:spChg chg="del">
          <ac:chgData name="Müller, Kurt (SI BP S&amp;C CS&amp;TR TR)" userId="e7e82c7e-80c6-42a5-ab71-24588885b7fe" providerId="ADAL" clId="{9A68D976-6B27-41CF-A773-96FB881042A0}" dt="2021-03-24T18:55:11.370" v="128" actId="478"/>
          <ac:spMkLst>
            <pc:docMk/>
            <pc:sldMk cId="1162615204" sldId="2568"/>
            <ac:spMk id="307" creationId="{DDEA60E1-B596-45F3-A4EF-8843A51E3E3A}"/>
          </ac:spMkLst>
        </pc:spChg>
        <pc:spChg chg="del">
          <ac:chgData name="Müller, Kurt (SI BP S&amp;C CS&amp;TR TR)" userId="e7e82c7e-80c6-42a5-ab71-24588885b7fe" providerId="ADAL" clId="{9A68D976-6B27-41CF-A773-96FB881042A0}" dt="2021-03-24T18:55:11.370" v="128" actId="478"/>
          <ac:spMkLst>
            <pc:docMk/>
            <pc:sldMk cId="1162615204" sldId="2568"/>
            <ac:spMk id="308" creationId="{99C30345-0670-411A-9AA1-FB514DE1E9B5}"/>
          </ac:spMkLst>
        </pc:spChg>
        <pc:spChg chg="del">
          <ac:chgData name="Müller, Kurt (SI BP S&amp;C CS&amp;TR TR)" userId="e7e82c7e-80c6-42a5-ab71-24588885b7fe" providerId="ADAL" clId="{9A68D976-6B27-41CF-A773-96FB881042A0}" dt="2021-03-24T18:55:11.370" v="128" actId="478"/>
          <ac:spMkLst>
            <pc:docMk/>
            <pc:sldMk cId="1162615204" sldId="2568"/>
            <ac:spMk id="491" creationId="{D9FD7B1A-722D-4B41-A780-E5B8446CE811}"/>
          </ac:spMkLst>
        </pc:spChg>
        <pc:grpChg chg="del">
          <ac:chgData name="Müller, Kurt (SI BP S&amp;C CS&amp;TR TR)" userId="e7e82c7e-80c6-42a5-ab71-24588885b7fe" providerId="ADAL" clId="{9A68D976-6B27-41CF-A773-96FB881042A0}" dt="2021-03-24T18:55:11.370" v="128" actId="478"/>
          <ac:grpSpMkLst>
            <pc:docMk/>
            <pc:sldMk cId="1162615204" sldId="2568"/>
            <ac:grpSpMk id="4" creationId="{BE2A73F2-F32F-4F31-9FD1-D26D6583A89F}"/>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29" creationId="{495E5A02-8714-4C35-8506-1BE663FFC7CC}"/>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43" creationId="{22CE87DC-6325-4E8A-B3E3-6B66B0899F46}"/>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63" creationId="{5C8A9359-738A-436F-BCE8-EFCA97ADD1B4}"/>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283" creationId="{10236FEB-CB63-418B-A4A5-0A2D7E782D56}"/>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09" creationId="{8EFE7874-D127-4682-A3E8-286A78D67C43}"/>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29" creationId="{F06DA6F1-0CC6-43CA-A643-4C408E3AB3F2}"/>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49" creationId="{ABFFAEB1-16FF-4C66-8DF3-7CF4E8781778}"/>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69" creationId="{CD6B261E-2971-464B-92BF-F9B11894C71A}"/>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389" creationId="{5924F927-EBEE-426A-BB9D-4A8CBAD15AEC}"/>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09" creationId="{00E69017-44A3-4773-9D51-3A07DB6753AB}"/>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29" creationId="{9B7C6D9D-02E0-43F9-8E91-D23512C114A9}"/>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49" creationId="{08BC85F5-5041-4840-801A-FC3B2A1462F1}"/>
          </ac:grpSpMkLst>
        </pc:grpChg>
        <pc:grpChg chg="del">
          <ac:chgData name="Müller, Kurt (SI BP S&amp;C CS&amp;TR TR)" userId="e7e82c7e-80c6-42a5-ab71-24588885b7fe" providerId="ADAL" clId="{9A68D976-6B27-41CF-A773-96FB881042A0}" dt="2021-03-24T18:55:11.370" v="128" actId="478"/>
          <ac:grpSpMkLst>
            <pc:docMk/>
            <pc:sldMk cId="1162615204" sldId="2568"/>
            <ac:grpSpMk id="469" creationId="{9C85DF34-3CA1-4740-9004-4EF16E7C900C}"/>
          </ac:grpSpMkLst>
        </pc:grpChg>
        <pc:graphicFrameChg chg="add mod modGraphic">
          <ac:chgData name="Müller, Kurt (SI BP S&amp;C CS&amp;TR TR)" userId="e7e82c7e-80c6-42a5-ab71-24588885b7fe" providerId="ADAL" clId="{9A68D976-6B27-41CF-A773-96FB881042A0}" dt="2021-03-24T18:58:06.463" v="259" actId="14734"/>
          <ac:graphicFrameMkLst>
            <pc:docMk/>
            <pc:sldMk cId="1162615204" sldId="2568"/>
            <ac:graphicFrameMk id="3" creationId="{BF320831-E879-4E6A-810B-F485D5F4329F}"/>
          </ac:graphicFrameMkLst>
        </pc:graphicFrameChg>
        <pc:graphicFrameChg chg="del">
          <ac:chgData name="Müller, Kurt (SI BP S&amp;C CS&amp;TR TR)" userId="e7e82c7e-80c6-42a5-ab71-24588885b7fe" providerId="ADAL" clId="{9A68D976-6B27-41CF-A773-96FB881042A0}" dt="2021-03-24T18:55:11.370" v="128" actId="478"/>
          <ac:graphicFrameMkLst>
            <pc:docMk/>
            <pc:sldMk cId="1162615204" sldId="2568"/>
            <ac:graphicFrameMk id="492" creationId="{C2AC56A2-ED59-4B03-BC8F-7FFC860B2B3D}"/>
          </ac:graphicFrameMkLst>
        </pc:graphicFrameChg>
        <pc:picChg chg="del">
          <ac:chgData name="Müller, Kurt (SI BP S&amp;C CS&amp;TR TR)" userId="e7e82c7e-80c6-42a5-ab71-24588885b7fe" providerId="ADAL" clId="{9A68D976-6B27-41CF-A773-96FB881042A0}" dt="2021-03-24T18:55:13.073" v="129" actId="478"/>
          <ac:picMkLst>
            <pc:docMk/>
            <pc:sldMk cId="1162615204" sldId="2568"/>
            <ac:picMk id="5" creationId="{2512C25A-7DC9-47B1-A3AC-BAB3B9B50C79}"/>
          </ac:picMkLst>
        </pc:picChg>
      </pc:sldChg>
    </pc:docChg>
  </pc:docChgLst>
  <pc:docChgLst>
    <pc:chgData name="Gao, Tianyun (SI BP AUT EA PROD)" userId="25b3c3cc-5a46-4d03-a516-a1293833cff3" providerId="ADAL" clId="{43AB949D-DD98-4E71-84BA-6A27556F6C91}"/>
    <pc:docChg chg="undo redo custSel addSld delSld modSld sldOrd">
      <pc:chgData name="Gao, Tianyun (SI BP AUT EA PROD)" userId="25b3c3cc-5a46-4d03-a516-a1293833cff3" providerId="ADAL" clId="{43AB949D-DD98-4E71-84BA-6A27556F6C91}" dt="2021-10-06T10:42:51.468" v="5462" actId="20577"/>
      <pc:docMkLst>
        <pc:docMk/>
      </pc:docMkLst>
      <pc:sldChg chg="add del">
        <pc:chgData name="Gao, Tianyun (SI BP AUT EA PROD)" userId="25b3c3cc-5a46-4d03-a516-a1293833cff3" providerId="ADAL" clId="{43AB949D-DD98-4E71-84BA-6A27556F6C91}" dt="2021-09-24T06:24:22.460" v="4227" actId="2696"/>
        <pc:sldMkLst>
          <pc:docMk/>
          <pc:sldMk cId="1015346610" sldId="494"/>
        </pc:sldMkLst>
      </pc:sldChg>
      <pc:sldChg chg="del">
        <pc:chgData name="Gao, Tianyun (SI BP AUT EA PROD)" userId="25b3c3cc-5a46-4d03-a516-a1293833cff3" providerId="ADAL" clId="{43AB949D-DD98-4E71-84BA-6A27556F6C91}" dt="2021-09-24T06:24:01.705" v="4225" actId="2696"/>
        <pc:sldMkLst>
          <pc:docMk/>
          <pc:sldMk cId="2398209365" sldId="494"/>
        </pc:sldMkLst>
      </pc:sldChg>
      <pc:sldChg chg="add ord">
        <pc:chgData name="Gao, Tianyun (SI BP AUT EA PROD)" userId="25b3c3cc-5a46-4d03-a516-a1293833cff3" providerId="ADAL" clId="{43AB949D-DD98-4E71-84BA-6A27556F6C91}" dt="2021-09-24T06:27:05.154" v="4239"/>
        <pc:sldMkLst>
          <pc:docMk/>
          <pc:sldMk cId="2584136636" sldId="494"/>
        </pc:sldMkLst>
      </pc:sldChg>
      <pc:sldChg chg="del">
        <pc:chgData name="Gao, Tianyun (SI BP AUT EA PROD)" userId="25b3c3cc-5a46-4d03-a516-a1293833cff3" providerId="ADAL" clId="{43AB949D-DD98-4E71-84BA-6A27556F6C91}" dt="2021-09-24T06:24:01.705" v="4225" actId="2696"/>
        <pc:sldMkLst>
          <pc:docMk/>
          <pc:sldMk cId="957695955" sldId="499"/>
        </pc:sldMkLst>
      </pc:sldChg>
      <pc:sldChg chg="add ord">
        <pc:chgData name="Gao, Tianyun (SI BP AUT EA PROD)" userId="25b3c3cc-5a46-4d03-a516-a1293833cff3" providerId="ADAL" clId="{43AB949D-DD98-4E71-84BA-6A27556F6C91}" dt="2021-09-24T06:27:05.154" v="4239"/>
        <pc:sldMkLst>
          <pc:docMk/>
          <pc:sldMk cId="1976342356" sldId="499"/>
        </pc:sldMkLst>
      </pc:sldChg>
      <pc:sldChg chg="add del">
        <pc:chgData name="Gao, Tianyun (SI BP AUT EA PROD)" userId="25b3c3cc-5a46-4d03-a516-a1293833cff3" providerId="ADAL" clId="{43AB949D-DD98-4E71-84BA-6A27556F6C91}" dt="2021-09-24T06:24:22.460" v="4227" actId="2696"/>
        <pc:sldMkLst>
          <pc:docMk/>
          <pc:sldMk cId="3926955914" sldId="499"/>
        </pc:sldMkLst>
      </pc:sldChg>
      <pc:sldChg chg="addSp modSp mod ord">
        <pc:chgData name="Gao, Tianyun (SI BP AUT EA PROD)" userId="25b3c3cc-5a46-4d03-a516-a1293833cff3" providerId="ADAL" clId="{43AB949D-DD98-4E71-84BA-6A27556F6C91}" dt="2021-09-28T12:52:02.137" v="5263" actId="1076"/>
        <pc:sldMkLst>
          <pc:docMk/>
          <pc:sldMk cId="0" sldId="514"/>
        </pc:sldMkLst>
        <pc:spChg chg="mod">
          <ac:chgData name="Gao, Tianyun (SI BP AUT EA PROD)" userId="25b3c3cc-5a46-4d03-a516-a1293833cff3" providerId="ADAL" clId="{43AB949D-DD98-4E71-84BA-6A27556F6C91}" dt="2021-09-28T12:52:02.137" v="5263" actId="1076"/>
          <ac:spMkLst>
            <pc:docMk/>
            <pc:sldMk cId="0" sldId="514"/>
            <ac:spMk id="2" creationId="{3F877412-0576-48D5-80F2-918F829CDD09}"/>
          </ac:spMkLst>
        </pc:spChg>
        <pc:spChg chg="add mod">
          <ac:chgData name="Gao, Tianyun (SI BP AUT EA PROD)" userId="25b3c3cc-5a46-4d03-a516-a1293833cff3" providerId="ADAL" clId="{43AB949D-DD98-4E71-84BA-6A27556F6C91}" dt="2021-09-28T12:51:54.333" v="5261" actId="20577"/>
          <ac:spMkLst>
            <pc:docMk/>
            <pc:sldMk cId="0" sldId="514"/>
            <ac:spMk id="14" creationId="{C13DBA15-C3D1-4C45-B4F0-BF4ACA4CB045}"/>
          </ac:spMkLst>
        </pc:spChg>
      </pc:sldChg>
      <pc:sldChg chg="addSp delSp modSp mod ord">
        <pc:chgData name="Gao, Tianyun (SI BP AUT EA PROD)" userId="25b3c3cc-5a46-4d03-a516-a1293833cff3" providerId="ADAL" clId="{43AB949D-DD98-4E71-84BA-6A27556F6C91}" dt="2021-09-28T13:37:50.121" v="5375"/>
        <pc:sldMkLst>
          <pc:docMk/>
          <pc:sldMk cId="0" sldId="515"/>
        </pc:sldMkLst>
        <pc:spChg chg="mod">
          <ac:chgData name="Gao, Tianyun (SI BP AUT EA PROD)" userId="25b3c3cc-5a46-4d03-a516-a1293833cff3" providerId="ADAL" clId="{43AB949D-DD98-4E71-84BA-6A27556F6C91}" dt="2021-09-27T14:54:16.795" v="5003" actId="6549"/>
          <ac:spMkLst>
            <pc:docMk/>
            <pc:sldMk cId="0" sldId="515"/>
            <ac:spMk id="13" creationId="{EBF46EE9-EB77-450D-B60B-E29CB4BC8A45}"/>
          </ac:spMkLst>
        </pc:spChg>
        <pc:spChg chg="add del">
          <ac:chgData name="Gao, Tianyun (SI BP AUT EA PROD)" userId="25b3c3cc-5a46-4d03-a516-a1293833cff3" providerId="ADAL" clId="{43AB949D-DD98-4E71-84BA-6A27556F6C91}" dt="2021-09-27T14:54:28.169" v="5005" actId="478"/>
          <ac:spMkLst>
            <pc:docMk/>
            <pc:sldMk cId="0" sldId="515"/>
            <ac:spMk id="14" creationId="{B587ED8F-C37C-4E79-8376-8E36E71FC970}"/>
          </ac:spMkLst>
        </pc:spChg>
      </pc:sldChg>
      <pc:sldChg chg="add del ord">
        <pc:chgData name="Gao, Tianyun (SI BP AUT EA PROD)" userId="25b3c3cc-5a46-4d03-a516-a1293833cff3" providerId="ADAL" clId="{43AB949D-DD98-4E71-84BA-6A27556F6C91}" dt="2021-09-24T06:23:35.785" v="4222"/>
        <pc:sldMkLst>
          <pc:docMk/>
          <pc:sldMk cId="0" sldId="516"/>
        </pc:sldMkLst>
      </pc:sldChg>
      <pc:sldChg chg="modSp add mod">
        <pc:chgData name="Gao, Tianyun (SI BP AUT EA PROD)" userId="25b3c3cc-5a46-4d03-a516-a1293833cff3" providerId="ADAL" clId="{43AB949D-DD98-4E71-84BA-6A27556F6C91}" dt="2021-09-24T07:57:04.690" v="4988" actId="20577"/>
        <pc:sldMkLst>
          <pc:docMk/>
          <pc:sldMk cId="578141691" sldId="2459"/>
        </pc:sldMkLst>
        <pc:spChg chg="mod">
          <ac:chgData name="Gao, Tianyun (SI BP AUT EA PROD)" userId="25b3c3cc-5a46-4d03-a516-a1293833cff3" providerId="ADAL" clId="{43AB949D-DD98-4E71-84BA-6A27556F6C91}" dt="2021-09-23T23:10:40.299" v="3152" actId="20577"/>
          <ac:spMkLst>
            <pc:docMk/>
            <pc:sldMk cId="578141691" sldId="2459"/>
            <ac:spMk id="14" creationId="{F9267173-6A02-41CD-B830-C2A2B4C20811}"/>
          </ac:spMkLst>
        </pc:spChg>
        <pc:spChg chg="mod">
          <ac:chgData name="Gao, Tianyun (SI BP AUT EA PROD)" userId="25b3c3cc-5a46-4d03-a516-a1293833cff3" providerId="ADAL" clId="{43AB949D-DD98-4E71-84BA-6A27556F6C91}" dt="2021-09-24T07:57:04.690" v="4988" actId="20577"/>
          <ac:spMkLst>
            <pc:docMk/>
            <pc:sldMk cId="578141691" sldId="2459"/>
            <ac:spMk id="20" creationId="{2A27FA31-F982-4A71-8CAF-D323DC85DE85}"/>
          </ac:spMkLst>
        </pc:spChg>
      </pc:sldChg>
      <pc:sldChg chg="addSp modSp mod ord">
        <pc:chgData name="Gao, Tianyun (SI BP AUT EA PROD)" userId="25b3c3cc-5a46-4d03-a516-a1293833cff3" providerId="ADAL" clId="{43AB949D-DD98-4E71-84BA-6A27556F6C91}" dt="2021-09-28T13:09:26.916" v="5371" actId="20577"/>
        <pc:sldMkLst>
          <pc:docMk/>
          <pc:sldMk cId="0" sldId="2464"/>
        </pc:sldMkLst>
        <pc:spChg chg="add mod">
          <ac:chgData name="Gao, Tianyun (SI BP AUT EA PROD)" userId="25b3c3cc-5a46-4d03-a516-a1293833cff3" providerId="ADAL" clId="{43AB949D-DD98-4E71-84BA-6A27556F6C91}" dt="2021-09-28T13:09:26.916" v="5371" actId="20577"/>
          <ac:spMkLst>
            <pc:docMk/>
            <pc:sldMk cId="0" sldId="2464"/>
            <ac:spMk id="12" creationId="{2CB4436F-4AEF-48E5-9272-66218457F328}"/>
          </ac:spMkLst>
        </pc:spChg>
      </pc:sldChg>
      <pc:sldChg chg="ord">
        <pc:chgData name="Gao, Tianyun (SI BP AUT EA PROD)" userId="25b3c3cc-5a46-4d03-a516-a1293833cff3" providerId="ADAL" clId="{43AB949D-DD98-4E71-84BA-6A27556F6C91}" dt="2021-09-24T06:23:42.896" v="4224"/>
        <pc:sldMkLst>
          <pc:docMk/>
          <pc:sldMk cId="0" sldId="2467"/>
        </pc:sldMkLst>
      </pc:sldChg>
      <pc:sldChg chg="addSp delSp modSp mod ord">
        <pc:chgData name="Gao, Tianyun (SI BP AUT EA PROD)" userId="25b3c3cc-5a46-4d03-a516-a1293833cff3" providerId="ADAL" clId="{43AB949D-DD98-4E71-84BA-6A27556F6C91}" dt="2021-09-27T15:14:50.612" v="5232" actId="1076"/>
        <pc:sldMkLst>
          <pc:docMk/>
          <pc:sldMk cId="2414038128" sldId="2475"/>
        </pc:sldMkLst>
        <pc:spChg chg="del mod">
          <ac:chgData name="Gao, Tianyun (SI BP AUT EA PROD)" userId="25b3c3cc-5a46-4d03-a516-a1293833cff3" providerId="ADAL" clId="{43AB949D-DD98-4E71-84BA-6A27556F6C91}" dt="2021-09-27T15:09:46.701" v="5153" actId="478"/>
          <ac:spMkLst>
            <pc:docMk/>
            <pc:sldMk cId="2414038128" sldId="2475"/>
            <ac:spMk id="12" creationId="{102AD72B-0573-4447-AB9D-AEE697FC10CF}"/>
          </ac:spMkLst>
        </pc:spChg>
        <pc:spChg chg="mod">
          <ac:chgData name="Gao, Tianyun (SI BP AUT EA PROD)" userId="25b3c3cc-5a46-4d03-a516-a1293833cff3" providerId="ADAL" clId="{43AB949D-DD98-4E71-84BA-6A27556F6C91}" dt="2021-09-27T15:12:39.418" v="5194" actId="1035"/>
          <ac:spMkLst>
            <pc:docMk/>
            <pc:sldMk cId="2414038128" sldId="2475"/>
            <ac:spMk id="17" creationId="{02CCF567-4B31-4487-B173-DB18C09CAC1F}"/>
          </ac:spMkLst>
        </pc:spChg>
        <pc:spChg chg="mod">
          <ac:chgData name="Gao, Tianyun (SI BP AUT EA PROD)" userId="25b3c3cc-5a46-4d03-a516-a1293833cff3" providerId="ADAL" clId="{43AB949D-DD98-4E71-84BA-6A27556F6C91}" dt="2021-09-27T15:12:39.418" v="5194" actId="1035"/>
          <ac:spMkLst>
            <pc:docMk/>
            <pc:sldMk cId="2414038128" sldId="2475"/>
            <ac:spMk id="20" creationId="{00097844-8E69-4FF3-BF54-946C91C4A321}"/>
          </ac:spMkLst>
        </pc:spChg>
        <pc:spChg chg="mod">
          <ac:chgData name="Gao, Tianyun (SI BP AUT EA PROD)" userId="25b3c3cc-5a46-4d03-a516-a1293833cff3" providerId="ADAL" clId="{43AB949D-DD98-4E71-84BA-6A27556F6C91}" dt="2021-09-27T15:12:39.418" v="5194" actId="1035"/>
          <ac:spMkLst>
            <pc:docMk/>
            <pc:sldMk cId="2414038128" sldId="2475"/>
            <ac:spMk id="23" creationId="{D114B01A-C97D-48CB-AA92-8DA86768CB78}"/>
          </ac:spMkLst>
        </pc:spChg>
        <pc:spChg chg="mod">
          <ac:chgData name="Gao, Tianyun (SI BP AUT EA PROD)" userId="25b3c3cc-5a46-4d03-a516-a1293833cff3" providerId="ADAL" clId="{43AB949D-DD98-4E71-84BA-6A27556F6C91}" dt="2021-09-27T15:12:39.418" v="5194" actId="1035"/>
          <ac:spMkLst>
            <pc:docMk/>
            <pc:sldMk cId="2414038128" sldId="2475"/>
            <ac:spMk id="25" creationId="{4561F6C1-00E5-463D-A0EE-BD580CF52D81}"/>
          </ac:spMkLst>
        </pc:spChg>
        <pc:spChg chg="mod">
          <ac:chgData name="Gao, Tianyun (SI BP AUT EA PROD)" userId="25b3c3cc-5a46-4d03-a516-a1293833cff3" providerId="ADAL" clId="{43AB949D-DD98-4E71-84BA-6A27556F6C91}" dt="2021-09-27T15:12:39.418" v="5194" actId="1035"/>
          <ac:spMkLst>
            <pc:docMk/>
            <pc:sldMk cId="2414038128" sldId="2475"/>
            <ac:spMk id="27" creationId="{D2AF9952-E751-4DA5-8A39-24CBDBCC8437}"/>
          </ac:spMkLst>
        </pc:spChg>
        <pc:spChg chg="mod">
          <ac:chgData name="Gao, Tianyun (SI BP AUT EA PROD)" userId="25b3c3cc-5a46-4d03-a516-a1293833cff3" providerId="ADAL" clId="{43AB949D-DD98-4E71-84BA-6A27556F6C91}" dt="2021-09-27T15:12:39.418" v="5194" actId="1035"/>
          <ac:spMkLst>
            <pc:docMk/>
            <pc:sldMk cId="2414038128" sldId="2475"/>
            <ac:spMk id="28" creationId="{5AA98577-E41E-4541-B0F9-822E9CFEF805}"/>
          </ac:spMkLst>
        </pc:spChg>
        <pc:spChg chg="mod">
          <ac:chgData name="Gao, Tianyun (SI BP AUT EA PROD)" userId="25b3c3cc-5a46-4d03-a516-a1293833cff3" providerId="ADAL" clId="{43AB949D-DD98-4E71-84BA-6A27556F6C91}" dt="2021-09-27T15:12:39.418" v="5194" actId="1035"/>
          <ac:spMkLst>
            <pc:docMk/>
            <pc:sldMk cId="2414038128" sldId="2475"/>
            <ac:spMk id="29" creationId="{DF7A5AC7-1E44-4AA3-A4E1-1AE811E6B600}"/>
          </ac:spMkLst>
        </pc:spChg>
        <pc:spChg chg="mod">
          <ac:chgData name="Gao, Tianyun (SI BP AUT EA PROD)" userId="25b3c3cc-5a46-4d03-a516-a1293833cff3" providerId="ADAL" clId="{43AB949D-DD98-4E71-84BA-6A27556F6C91}" dt="2021-09-27T15:12:39.418" v="5194" actId="1035"/>
          <ac:spMkLst>
            <pc:docMk/>
            <pc:sldMk cId="2414038128" sldId="2475"/>
            <ac:spMk id="30" creationId="{9F43DCFF-17F3-40CD-929B-65156F7D9DCC}"/>
          </ac:spMkLst>
        </pc:spChg>
        <pc:spChg chg="mod">
          <ac:chgData name="Gao, Tianyun (SI BP AUT EA PROD)" userId="25b3c3cc-5a46-4d03-a516-a1293833cff3" providerId="ADAL" clId="{43AB949D-DD98-4E71-84BA-6A27556F6C91}" dt="2021-09-27T15:12:39.418" v="5194" actId="1035"/>
          <ac:spMkLst>
            <pc:docMk/>
            <pc:sldMk cId="2414038128" sldId="2475"/>
            <ac:spMk id="31" creationId="{4B081E09-3F52-428D-B946-4FEB5CF18FEE}"/>
          </ac:spMkLst>
        </pc:spChg>
        <pc:spChg chg="mod">
          <ac:chgData name="Gao, Tianyun (SI BP AUT EA PROD)" userId="25b3c3cc-5a46-4d03-a516-a1293833cff3" providerId="ADAL" clId="{43AB949D-DD98-4E71-84BA-6A27556F6C91}" dt="2021-09-27T15:12:39.418" v="5194" actId="1035"/>
          <ac:spMkLst>
            <pc:docMk/>
            <pc:sldMk cId="2414038128" sldId="2475"/>
            <ac:spMk id="32" creationId="{A214BC0F-A34D-4BC3-8BB7-EBD3C7FD404A}"/>
          </ac:spMkLst>
        </pc:spChg>
        <pc:spChg chg="mod">
          <ac:chgData name="Gao, Tianyun (SI BP AUT EA PROD)" userId="25b3c3cc-5a46-4d03-a516-a1293833cff3" providerId="ADAL" clId="{43AB949D-DD98-4E71-84BA-6A27556F6C91}" dt="2021-09-27T15:12:39.418" v="5194" actId="1035"/>
          <ac:spMkLst>
            <pc:docMk/>
            <pc:sldMk cId="2414038128" sldId="2475"/>
            <ac:spMk id="33" creationId="{9CDB2FB1-5770-46D2-B536-3EF707061297}"/>
          </ac:spMkLst>
        </pc:spChg>
        <pc:spChg chg="mod">
          <ac:chgData name="Gao, Tianyun (SI BP AUT EA PROD)" userId="25b3c3cc-5a46-4d03-a516-a1293833cff3" providerId="ADAL" clId="{43AB949D-DD98-4E71-84BA-6A27556F6C91}" dt="2021-09-27T15:12:49.092" v="5223" actId="1035"/>
          <ac:spMkLst>
            <pc:docMk/>
            <pc:sldMk cId="2414038128" sldId="2475"/>
            <ac:spMk id="35" creationId="{85CBFBBC-1EBF-47E8-A2A6-1FCE1358A1CF}"/>
          </ac:spMkLst>
        </pc:spChg>
        <pc:spChg chg="mod">
          <ac:chgData name="Gao, Tianyun (SI BP AUT EA PROD)" userId="25b3c3cc-5a46-4d03-a516-a1293833cff3" providerId="ADAL" clId="{43AB949D-DD98-4E71-84BA-6A27556F6C91}" dt="2021-09-27T15:12:39.418" v="5194" actId="1035"/>
          <ac:spMkLst>
            <pc:docMk/>
            <pc:sldMk cId="2414038128" sldId="2475"/>
            <ac:spMk id="40" creationId="{AFBC7CEE-DBA1-413E-B34B-8F61D2E5E206}"/>
          </ac:spMkLst>
        </pc:spChg>
        <pc:spChg chg="mod">
          <ac:chgData name="Gao, Tianyun (SI BP AUT EA PROD)" userId="25b3c3cc-5a46-4d03-a516-a1293833cff3" providerId="ADAL" clId="{43AB949D-DD98-4E71-84BA-6A27556F6C91}" dt="2021-09-27T15:12:39.418" v="5194" actId="1035"/>
          <ac:spMkLst>
            <pc:docMk/>
            <pc:sldMk cId="2414038128" sldId="2475"/>
            <ac:spMk id="42" creationId="{9DC30CDE-A632-4DC9-B097-521C16ABF36C}"/>
          </ac:spMkLst>
        </pc:spChg>
        <pc:spChg chg="mod">
          <ac:chgData name="Gao, Tianyun (SI BP AUT EA PROD)" userId="25b3c3cc-5a46-4d03-a516-a1293833cff3" providerId="ADAL" clId="{43AB949D-DD98-4E71-84BA-6A27556F6C91}" dt="2021-09-27T15:11:47.500" v="5185" actId="20577"/>
          <ac:spMkLst>
            <pc:docMk/>
            <pc:sldMk cId="2414038128" sldId="2475"/>
            <ac:spMk id="43" creationId="{C6E54D6C-C479-46C9-BD1C-06EFA0E2F6CB}"/>
          </ac:spMkLst>
        </pc:spChg>
        <pc:spChg chg="del">
          <ac:chgData name="Gao, Tianyun (SI BP AUT EA PROD)" userId="25b3c3cc-5a46-4d03-a516-a1293833cff3" providerId="ADAL" clId="{43AB949D-DD98-4E71-84BA-6A27556F6C91}" dt="2021-09-27T14:56:01.139" v="5049" actId="478"/>
          <ac:spMkLst>
            <pc:docMk/>
            <pc:sldMk cId="2414038128" sldId="2475"/>
            <ac:spMk id="46" creationId="{08FE51C2-FBBE-4279-9CAB-0038B9BE5542}"/>
          </ac:spMkLst>
        </pc:spChg>
        <pc:spChg chg="add mod">
          <ac:chgData name="Gao, Tianyun (SI BP AUT EA PROD)" userId="25b3c3cc-5a46-4d03-a516-a1293833cff3" providerId="ADAL" clId="{43AB949D-DD98-4E71-84BA-6A27556F6C91}" dt="2021-09-27T15:12:39.418" v="5194" actId="1035"/>
          <ac:spMkLst>
            <pc:docMk/>
            <pc:sldMk cId="2414038128" sldId="2475"/>
            <ac:spMk id="49" creationId="{8F07D972-2010-478D-8F61-6214AF8D6993}"/>
          </ac:spMkLst>
        </pc:spChg>
        <pc:spChg chg="add mod">
          <ac:chgData name="Gao, Tianyun (SI BP AUT EA PROD)" userId="25b3c3cc-5a46-4d03-a516-a1293833cff3" providerId="ADAL" clId="{43AB949D-DD98-4E71-84BA-6A27556F6C91}" dt="2021-09-27T15:12:39.418" v="5194" actId="1035"/>
          <ac:spMkLst>
            <pc:docMk/>
            <pc:sldMk cId="2414038128" sldId="2475"/>
            <ac:spMk id="50" creationId="{5D3094BA-4948-49B0-88C0-06E9BD516395}"/>
          </ac:spMkLst>
        </pc:spChg>
        <pc:picChg chg="mod">
          <ac:chgData name="Gao, Tianyun (SI BP AUT EA PROD)" userId="25b3c3cc-5a46-4d03-a516-a1293833cff3" providerId="ADAL" clId="{43AB949D-DD98-4E71-84BA-6A27556F6C91}" dt="2021-09-27T15:12:39.418" v="5194" actId="1035"/>
          <ac:picMkLst>
            <pc:docMk/>
            <pc:sldMk cId="2414038128" sldId="2475"/>
            <ac:picMk id="7" creationId="{A3C3A532-41A4-41C1-863C-94718EEB5C35}"/>
          </ac:picMkLst>
        </pc:picChg>
        <pc:picChg chg="mod">
          <ac:chgData name="Gao, Tianyun (SI BP AUT EA PROD)" userId="25b3c3cc-5a46-4d03-a516-a1293833cff3" providerId="ADAL" clId="{43AB949D-DD98-4E71-84BA-6A27556F6C91}" dt="2021-09-27T15:12:39.418" v="5194" actId="1035"/>
          <ac:picMkLst>
            <pc:docMk/>
            <pc:sldMk cId="2414038128" sldId="2475"/>
            <ac:picMk id="8" creationId="{6889586A-02FB-49AB-B057-CB14DAB72987}"/>
          </ac:picMkLst>
        </pc:picChg>
        <pc:picChg chg="del mod">
          <ac:chgData name="Gao, Tianyun (SI BP AUT EA PROD)" userId="25b3c3cc-5a46-4d03-a516-a1293833cff3" providerId="ADAL" clId="{43AB949D-DD98-4E71-84BA-6A27556F6C91}" dt="2021-09-27T15:09:44.792" v="5152" actId="478"/>
          <ac:picMkLst>
            <pc:docMk/>
            <pc:sldMk cId="2414038128" sldId="2475"/>
            <ac:picMk id="9" creationId="{3FE7A979-ED1B-4F9C-98DC-975C23A228B1}"/>
          </ac:picMkLst>
        </pc:picChg>
        <pc:picChg chg="mod">
          <ac:chgData name="Gao, Tianyun (SI BP AUT EA PROD)" userId="25b3c3cc-5a46-4d03-a516-a1293833cff3" providerId="ADAL" clId="{43AB949D-DD98-4E71-84BA-6A27556F6C91}" dt="2021-09-27T15:12:39.418" v="5194" actId="1035"/>
          <ac:picMkLst>
            <pc:docMk/>
            <pc:sldMk cId="2414038128" sldId="2475"/>
            <ac:picMk id="11" creationId="{89287F33-3A37-41D4-8631-1D51F8F790A8}"/>
          </ac:picMkLst>
        </pc:picChg>
        <pc:picChg chg="mod">
          <ac:chgData name="Gao, Tianyun (SI BP AUT EA PROD)" userId="25b3c3cc-5a46-4d03-a516-a1293833cff3" providerId="ADAL" clId="{43AB949D-DD98-4E71-84BA-6A27556F6C91}" dt="2021-09-27T15:12:39.418" v="5194" actId="1035"/>
          <ac:picMkLst>
            <pc:docMk/>
            <pc:sldMk cId="2414038128" sldId="2475"/>
            <ac:picMk id="26" creationId="{A94DF6E7-A3C6-44CA-AAFB-28C7CD605DE7}"/>
          </ac:picMkLst>
        </pc:picChg>
        <pc:picChg chg="del">
          <ac:chgData name="Gao, Tianyun (SI BP AUT EA PROD)" userId="25b3c3cc-5a46-4d03-a516-a1293833cff3" providerId="ADAL" clId="{43AB949D-DD98-4E71-84BA-6A27556F6C91}" dt="2021-09-27T15:00:44.724" v="5057" actId="478"/>
          <ac:picMkLst>
            <pc:docMk/>
            <pc:sldMk cId="2414038128" sldId="2475"/>
            <ac:picMk id="34" creationId="{D94C9684-5ED8-4716-817B-E3C5D4E3EC8E}"/>
          </ac:picMkLst>
        </pc:picChg>
        <pc:picChg chg="mod">
          <ac:chgData name="Gao, Tianyun (SI BP AUT EA PROD)" userId="25b3c3cc-5a46-4d03-a516-a1293833cff3" providerId="ADAL" clId="{43AB949D-DD98-4E71-84BA-6A27556F6C91}" dt="2021-09-27T15:12:39.418" v="5194" actId="1035"/>
          <ac:picMkLst>
            <pc:docMk/>
            <pc:sldMk cId="2414038128" sldId="2475"/>
            <ac:picMk id="41" creationId="{5F11817C-D820-4723-A11B-9D533C9C9517}"/>
          </ac:picMkLst>
        </pc:picChg>
        <pc:picChg chg="add mod">
          <ac:chgData name="Gao, Tianyun (SI BP AUT EA PROD)" userId="25b3c3cc-5a46-4d03-a516-a1293833cff3" providerId="ADAL" clId="{43AB949D-DD98-4E71-84BA-6A27556F6C91}" dt="2021-09-27T15:12:49.092" v="5223" actId="1035"/>
          <ac:picMkLst>
            <pc:docMk/>
            <pc:sldMk cId="2414038128" sldId="2475"/>
            <ac:picMk id="47" creationId="{E32ACBDC-5497-4723-AF74-A76FF38FB6CA}"/>
          </ac:picMkLst>
        </pc:picChg>
        <pc:picChg chg="add mod">
          <ac:chgData name="Gao, Tianyun (SI BP AUT EA PROD)" userId="25b3c3cc-5a46-4d03-a516-a1293833cff3" providerId="ADAL" clId="{43AB949D-DD98-4E71-84BA-6A27556F6C91}" dt="2021-09-27T15:14:50.612" v="5232" actId="1076"/>
          <ac:picMkLst>
            <pc:docMk/>
            <pc:sldMk cId="2414038128" sldId="2475"/>
            <ac:picMk id="48" creationId="{0B7A2CBE-3992-4078-A5CD-9BACF260F4C6}"/>
          </ac:picMkLst>
        </pc:picChg>
        <pc:picChg chg="mod">
          <ac:chgData name="Gao, Tianyun (SI BP AUT EA PROD)" userId="25b3c3cc-5a46-4d03-a516-a1293833cff3" providerId="ADAL" clId="{43AB949D-DD98-4E71-84BA-6A27556F6C91}" dt="2021-09-27T15:12:39.418" v="5194" actId="1035"/>
          <ac:picMkLst>
            <pc:docMk/>
            <pc:sldMk cId="2414038128" sldId="2475"/>
            <ac:picMk id="1026" creationId="{2439522E-52BC-467C-A6B9-368407224565}"/>
          </ac:picMkLst>
        </pc:picChg>
        <pc:cxnChg chg="mod">
          <ac:chgData name="Gao, Tianyun (SI BP AUT EA PROD)" userId="25b3c3cc-5a46-4d03-a516-a1293833cff3" providerId="ADAL" clId="{43AB949D-DD98-4E71-84BA-6A27556F6C91}" dt="2021-09-27T15:12:39.418" v="5194" actId="1035"/>
          <ac:cxnSpMkLst>
            <pc:docMk/>
            <pc:sldMk cId="2414038128" sldId="2475"/>
            <ac:cxnSpMk id="4" creationId="{7B8A7F63-7BC1-4463-B782-2A380799D3E2}"/>
          </ac:cxnSpMkLst>
        </pc:cxnChg>
        <pc:cxnChg chg="mod">
          <ac:chgData name="Gao, Tianyun (SI BP AUT EA PROD)" userId="25b3c3cc-5a46-4d03-a516-a1293833cff3" providerId="ADAL" clId="{43AB949D-DD98-4E71-84BA-6A27556F6C91}" dt="2021-09-27T15:12:39.418" v="5194" actId="1035"/>
          <ac:cxnSpMkLst>
            <pc:docMk/>
            <pc:sldMk cId="2414038128" sldId="2475"/>
            <ac:cxnSpMk id="22" creationId="{4D321D47-476C-4A70-A3F4-6BE379863E16}"/>
          </ac:cxnSpMkLst>
        </pc:cxnChg>
        <pc:cxnChg chg="mod">
          <ac:chgData name="Gao, Tianyun (SI BP AUT EA PROD)" userId="25b3c3cc-5a46-4d03-a516-a1293833cff3" providerId="ADAL" clId="{43AB949D-DD98-4E71-84BA-6A27556F6C91}" dt="2021-09-27T15:12:39.418" v="5194" actId="1035"/>
          <ac:cxnSpMkLst>
            <pc:docMk/>
            <pc:sldMk cId="2414038128" sldId="2475"/>
            <ac:cxnSpMk id="36" creationId="{95F0DDC9-E39A-4BF6-A5DE-377ECBC6038B}"/>
          </ac:cxnSpMkLst>
        </pc:cxnChg>
        <pc:cxnChg chg="mod">
          <ac:chgData name="Gao, Tianyun (SI BP AUT EA PROD)" userId="25b3c3cc-5a46-4d03-a516-a1293833cff3" providerId="ADAL" clId="{43AB949D-DD98-4E71-84BA-6A27556F6C91}" dt="2021-09-27T15:12:39.418" v="5194" actId="1035"/>
          <ac:cxnSpMkLst>
            <pc:docMk/>
            <pc:sldMk cId="2414038128" sldId="2475"/>
            <ac:cxnSpMk id="37" creationId="{7D31A30E-7C32-4641-B2FC-822D11BE19E6}"/>
          </ac:cxnSpMkLst>
        </pc:cxnChg>
        <pc:cxnChg chg="mod">
          <ac:chgData name="Gao, Tianyun (SI BP AUT EA PROD)" userId="25b3c3cc-5a46-4d03-a516-a1293833cff3" providerId="ADAL" clId="{43AB949D-DD98-4E71-84BA-6A27556F6C91}" dt="2021-09-27T15:12:39.418" v="5194" actId="1035"/>
          <ac:cxnSpMkLst>
            <pc:docMk/>
            <pc:sldMk cId="2414038128" sldId="2475"/>
            <ac:cxnSpMk id="38" creationId="{94FBC666-DBC7-4571-B84C-BDBE00252F2D}"/>
          </ac:cxnSpMkLst>
        </pc:cxnChg>
        <pc:cxnChg chg="mod">
          <ac:chgData name="Gao, Tianyun (SI BP AUT EA PROD)" userId="25b3c3cc-5a46-4d03-a516-a1293833cff3" providerId="ADAL" clId="{43AB949D-DD98-4E71-84BA-6A27556F6C91}" dt="2021-09-27T15:12:39.418" v="5194" actId="1035"/>
          <ac:cxnSpMkLst>
            <pc:docMk/>
            <pc:sldMk cId="2414038128" sldId="2475"/>
            <ac:cxnSpMk id="39" creationId="{F58B6CA4-9F5A-4032-AA62-E5E6D478C361}"/>
          </ac:cxnSpMkLst>
        </pc:cxnChg>
      </pc:sldChg>
      <pc:sldChg chg="del ord">
        <pc:chgData name="Gao, Tianyun (SI BP AUT EA PROD)" userId="25b3c3cc-5a46-4d03-a516-a1293833cff3" providerId="ADAL" clId="{43AB949D-DD98-4E71-84BA-6A27556F6C91}" dt="2021-09-24T06:25:42.741" v="4230" actId="2696"/>
        <pc:sldMkLst>
          <pc:docMk/>
          <pc:sldMk cId="3669013639" sldId="2487"/>
        </pc:sldMkLst>
      </pc:sldChg>
      <pc:sldChg chg="add ord">
        <pc:chgData name="Gao, Tianyun (SI BP AUT EA PROD)" userId="25b3c3cc-5a46-4d03-a516-a1293833cff3" providerId="ADAL" clId="{43AB949D-DD98-4E71-84BA-6A27556F6C91}" dt="2021-09-24T06:26:45.548" v="4237"/>
        <pc:sldMkLst>
          <pc:docMk/>
          <pc:sldMk cId="353228543" sldId="2488"/>
        </pc:sldMkLst>
      </pc:sldChg>
      <pc:sldChg chg="mod modShow">
        <pc:chgData name="Gao, Tianyun (SI BP AUT EA PROD)" userId="25b3c3cc-5a46-4d03-a516-a1293833cff3" providerId="ADAL" clId="{43AB949D-DD98-4E71-84BA-6A27556F6C91}" dt="2021-09-24T06:27:16.424" v="4240" actId="729"/>
        <pc:sldMkLst>
          <pc:docMk/>
          <pc:sldMk cId="0" sldId="2489"/>
        </pc:sldMkLst>
      </pc:sldChg>
      <pc:sldChg chg="mod modShow">
        <pc:chgData name="Gao, Tianyun (SI BP AUT EA PROD)" userId="25b3c3cc-5a46-4d03-a516-a1293833cff3" providerId="ADAL" clId="{43AB949D-DD98-4E71-84BA-6A27556F6C91}" dt="2021-09-24T06:27:16.424" v="4240" actId="729"/>
        <pc:sldMkLst>
          <pc:docMk/>
          <pc:sldMk cId="0" sldId="2490"/>
        </pc:sldMkLst>
      </pc:sldChg>
      <pc:sldChg chg="mod modShow">
        <pc:chgData name="Gao, Tianyun (SI BP AUT EA PROD)" userId="25b3c3cc-5a46-4d03-a516-a1293833cff3" providerId="ADAL" clId="{43AB949D-DD98-4E71-84BA-6A27556F6C91}" dt="2021-09-24T06:27:16.424" v="4240" actId="729"/>
        <pc:sldMkLst>
          <pc:docMk/>
          <pc:sldMk cId="0" sldId="2491"/>
        </pc:sldMkLst>
      </pc:sldChg>
      <pc:sldChg chg="mod modShow">
        <pc:chgData name="Gao, Tianyun (SI BP AUT EA PROD)" userId="25b3c3cc-5a46-4d03-a516-a1293833cff3" providerId="ADAL" clId="{43AB949D-DD98-4E71-84BA-6A27556F6C91}" dt="2021-09-24T06:27:16.424" v="4240" actId="729"/>
        <pc:sldMkLst>
          <pc:docMk/>
          <pc:sldMk cId="0" sldId="2492"/>
        </pc:sldMkLst>
      </pc:sldChg>
      <pc:sldChg chg="mod modShow">
        <pc:chgData name="Gao, Tianyun (SI BP AUT EA PROD)" userId="25b3c3cc-5a46-4d03-a516-a1293833cff3" providerId="ADAL" clId="{43AB949D-DD98-4E71-84BA-6A27556F6C91}" dt="2021-09-24T06:27:16.424" v="4240" actId="729"/>
        <pc:sldMkLst>
          <pc:docMk/>
          <pc:sldMk cId="0" sldId="2493"/>
        </pc:sldMkLst>
      </pc:sldChg>
      <pc:sldChg chg="addSp delSp modSp add mod">
        <pc:chgData name="Gao, Tianyun (SI BP AUT EA PROD)" userId="25b3c3cc-5a46-4d03-a516-a1293833cff3" providerId="ADAL" clId="{43AB949D-DD98-4E71-84BA-6A27556F6C91}" dt="2021-09-24T07:39:45.784" v="4877" actId="5793"/>
        <pc:sldMkLst>
          <pc:docMk/>
          <pc:sldMk cId="65606037" sldId="2494"/>
        </pc:sldMkLst>
        <pc:spChg chg="del">
          <ac:chgData name="Gao, Tianyun (SI BP AUT EA PROD)" userId="25b3c3cc-5a46-4d03-a516-a1293833cff3" providerId="ADAL" clId="{43AB949D-DD98-4E71-84BA-6A27556F6C91}" dt="2021-09-23T12:29:14.057" v="24" actId="478"/>
          <ac:spMkLst>
            <pc:docMk/>
            <pc:sldMk cId="65606037" sldId="2494"/>
            <ac:spMk id="2" creationId="{3F877412-0576-48D5-80F2-918F829CDD09}"/>
          </ac:spMkLst>
        </pc:spChg>
        <pc:spChg chg="add mod">
          <ac:chgData name="Gao, Tianyun (SI BP AUT EA PROD)" userId="25b3c3cc-5a46-4d03-a516-a1293833cff3" providerId="ADAL" clId="{43AB949D-DD98-4E71-84BA-6A27556F6C91}" dt="2021-09-23T21:44:53.985" v="793" actId="20577"/>
          <ac:spMkLst>
            <pc:docMk/>
            <pc:sldMk cId="65606037" sldId="2494"/>
            <ac:spMk id="3" creationId="{2B0B5429-3AC0-4719-BEC1-66DA3F8D06F8}"/>
          </ac:spMkLst>
        </pc:spChg>
        <pc:spChg chg="mod">
          <ac:chgData name="Gao, Tianyun (SI BP AUT EA PROD)" userId="25b3c3cc-5a46-4d03-a516-a1293833cff3" providerId="ADAL" clId="{43AB949D-DD98-4E71-84BA-6A27556F6C91}" dt="2021-09-23T14:23:24.837" v="658" actId="313"/>
          <ac:spMkLst>
            <pc:docMk/>
            <pc:sldMk cId="65606037" sldId="2494"/>
            <ac:spMk id="11" creationId="{78147749-85E7-4110-B55A-DB45D6D85C1A}"/>
          </ac:spMkLst>
        </pc:spChg>
        <pc:spChg chg="mod">
          <ac:chgData name="Gao, Tianyun (SI BP AUT EA PROD)" userId="25b3c3cc-5a46-4d03-a516-a1293833cff3" providerId="ADAL" clId="{43AB949D-DD98-4E71-84BA-6A27556F6C91}" dt="2021-09-24T07:39:45.784" v="4877" actId="5793"/>
          <ac:spMkLst>
            <pc:docMk/>
            <pc:sldMk cId="65606037" sldId="2494"/>
            <ac:spMk id="13" creationId="{3972A43F-EB41-488D-8627-93CE8199840D}"/>
          </ac:spMkLst>
        </pc:spChg>
        <pc:spChg chg="add mod">
          <ac:chgData name="Gao, Tianyun (SI BP AUT EA PROD)" userId="25b3c3cc-5a46-4d03-a516-a1293833cff3" providerId="ADAL" clId="{43AB949D-DD98-4E71-84BA-6A27556F6C91}" dt="2021-09-23T21:50:16.954" v="827" actId="1076"/>
          <ac:spMkLst>
            <pc:docMk/>
            <pc:sldMk cId="65606037" sldId="2494"/>
            <ac:spMk id="15" creationId="{69195940-A5D1-4EC3-AB54-867BF0B85AE2}"/>
          </ac:spMkLst>
        </pc:spChg>
        <pc:spChg chg="add mod">
          <ac:chgData name="Gao, Tianyun (SI BP AUT EA PROD)" userId="25b3c3cc-5a46-4d03-a516-a1293833cff3" providerId="ADAL" clId="{43AB949D-DD98-4E71-84BA-6A27556F6C91}" dt="2021-09-23T22:10:56.709" v="1294" actId="1076"/>
          <ac:spMkLst>
            <pc:docMk/>
            <pc:sldMk cId="65606037" sldId="2494"/>
            <ac:spMk id="17" creationId="{0DBA7403-27C6-4A0C-AEDC-0585BE97B632}"/>
          </ac:spMkLst>
        </pc:spChg>
        <pc:spChg chg="add mod">
          <ac:chgData name="Gao, Tianyun (SI BP AUT EA PROD)" userId="25b3c3cc-5a46-4d03-a516-a1293833cff3" providerId="ADAL" clId="{43AB949D-DD98-4E71-84BA-6A27556F6C91}" dt="2021-09-24T06:33:58.980" v="4279" actId="20577"/>
          <ac:spMkLst>
            <pc:docMk/>
            <pc:sldMk cId="65606037" sldId="2494"/>
            <ac:spMk id="18" creationId="{40997B31-84D6-40DD-8F5F-D95DA047F15A}"/>
          </ac:spMkLst>
        </pc:spChg>
        <pc:spChg chg="del">
          <ac:chgData name="Gao, Tianyun (SI BP AUT EA PROD)" userId="25b3c3cc-5a46-4d03-a516-a1293833cff3" providerId="ADAL" clId="{43AB949D-DD98-4E71-84BA-6A27556F6C91}" dt="2021-09-23T12:29:14.057" v="24" actId="478"/>
          <ac:spMkLst>
            <pc:docMk/>
            <pc:sldMk cId="65606037" sldId="2494"/>
            <ac:spMk id="10246" creationId="{59C9234A-0955-4676-AF99-C1522548F16F}"/>
          </ac:spMkLst>
        </pc:spChg>
        <pc:spChg chg="del">
          <ac:chgData name="Gao, Tianyun (SI BP AUT EA PROD)" userId="25b3c3cc-5a46-4d03-a516-a1293833cff3" providerId="ADAL" clId="{43AB949D-DD98-4E71-84BA-6A27556F6C91}" dt="2021-09-23T12:29:14.057" v="24" actId="478"/>
          <ac:spMkLst>
            <pc:docMk/>
            <pc:sldMk cId="65606037" sldId="2494"/>
            <ac:spMk id="10247" creationId="{730A2D42-A39F-44B1-8CB9-383E9803AA36}"/>
          </ac:spMkLst>
        </pc:spChg>
        <pc:picChg chg="add mod">
          <ac:chgData name="Gao, Tianyun (SI BP AUT EA PROD)" userId="25b3c3cc-5a46-4d03-a516-a1293833cff3" providerId="ADAL" clId="{43AB949D-DD98-4E71-84BA-6A27556F6C91}" dt="2021-09-23T21:43:53.322" v="714" actId="1076"/>
          <ac:picMkLst>
            <pc:docMk/>
            <pc:sldMk cId="65606037" sldId="2494"/>
            <ac:picMk id="14" creationId="{37B162FF-9631-454F-B189-B1E30AC3E992}"/>
          </ac:picMkLst>
        </pc:picChg>
        <pc:picChg chg="add del mod">
          <ac:chgData name="Gao, Tianyun (SI BP AUT EA PROD)" userId="25b3c3cc-5a46-4d03-a516-a1293833cff3" providerId="ADAL" clId="{43AB949D-DD98-4E71-84BA-6A27556F6C91}" dt="2021-09-23T21:44:31.147" v="760" actId="478"/>
          <ac:picMkLst>
            <pc:docMk/>
            <pc:sldMk cId="65606037" sldId="2494"/>
            <ac:picMk id="16" creationId="{B51EAD30-644E-49D5-9E6E-6C11C734E713}"/>
          </ac:picMkLst>
        </pc:picChg>
        <pc:picChg chg="del">
          <ac:chgData name="Gao, Tianyun (SI BP AUT EA PROD)" userId="25b3c3cc-5a46-4d03-a516-a1293833cff3" providerId="ADAL" clId="{43AB949D-DD98-4E71-84BA-6A27556F6C91}" dt="2021-09-23T12:29:14.057" v="24" actId="478"/>
          <ac:picMkLst>
            <pc:docMk/>
            <pc:sldMk cId="65606037" sldId="2494"/>
            <ac:picMk id="10248" creationId="{993D4F55-A126-49D3-A3C4-289126CEDCE6}"/>
          </ac:picMkLst>
        </pc:picChg>
        <pc:picChg chg="del">
          <ac:chgData name="Gao, Tianyun (SI BP AUT EA PROD)" userId="25b3c3cc-5a46-4d03-a516-a1293833cff3" providerId="ADAL" clId="{43AB949D-DD98-4E71-84BA-6A27556F6C91}" dt="2021-09-23T12:29:14.057" v="24" actId="478"/>
          <ac:picMkLst>
            <pc:docMk/>
            <pc:sldMk cId="65606037" sldId="2494"/>
            <ac:picMk id="10249" creationId="{918C33A3-2F26-4CA4-9599-8BCA1C6E1639}"/>
          </ac:picMkLst>
        </pc:picChg>
        <pc:picChg chg="del">
          <ac:chgData name="Gao, Tianyun (SI BP AUT EA PROD)" userId="25b3c3cc-5a46-4d03-a516-a1293833cff3" providerId="ADAL" clId="{43AB949D-DD98-4E71-84BA-6A27556F6C91}" dt="2021-09-23T12:29:14.057" v="24" actId="478"/>
          <ac:picMkLst>
            <pc:docMk/>
            <pc:sldMk cId="65606037" sldId="2494"/>
            <ac:picMk id="10250" creationId="{406FD27D-469D-45C1-85C0-3929A8E39F54}"/>
          </ac:picMkLst>
        </pc:picChg>
      </pc:sldChg>
      <pc:sldChg chg="addSp delSp modSp add mod">
        <pc:chgData name="Gao, Tianyun (SI BP AUT EA PROD)" userId="25b3c3cc-5a46-4d03-a516-a1293833cff3" providerId="ADAL" clId="{43AB949D-DD98-4E71-84BA-6A27556F6C91}" dt="2021-09-24T06:46:21.175" v="4441" actId="122"/>
        <pc:sldMkLst>
          <pc:docMk/>
          <pc:sldMk cId="3617080921" sldId="2495"/>
        </pc:sldMkLst>
        <pc:spChg chg="mod">
          <ac:chgData name="Gao, Tianyun (SI BP AUT EA PROD)" userId="25b3c3cc-5a46-4d03-a516-a1293833cff3" providerId="ADAL" clId="{43AB949D-DD98-4E71-84BA-6A27556F6C91}" dt="2021-09-23T21:46:08.658" v="826" actId="20577"/>
          <ac:spMkLst>
            <pc:docMk/>
            <pc:sldMk cId="3617080921" sldId="2495"/>
            <ac:spMk id="11" creationId="{78147749-85E7-4110-B55A-DB45D6D85C1A}"/>
          </ac:spMkLst>
        </pc:spChg>
        <pc:spChg chg="del">
          <ac:chgData name="Gao, Tianyun (SI BP AUT EA PROD)" userId="25b3c3cc-5a46-4d03-a516-a1293833cff3" providerId="ADAL" clId="{43AB949D-DD98-4E71-84BA-6A27556F6C91}" dt="2021-09-23T20:09:20.807" v="659" actId="478"/>
          <ac:spMkLst>
            <pc:docMk/>
            <pc:sldMk cId="3617080921" sldId="2495"/>
            <ac:spMk id="13" creationId="{3972A43F-EB41-488D-8627-93CE8199840D}"/>
          </ac:spMkLst>
        </pc:spChg>
        <pc:spChg chg="add del mod">
          <ac:chgData name="Gao, Tianyun (SI BP AUT EA PROD)" userId="25b3c3cc-5a46-4d03-a516-a1293833cff3" providerId="ADAL" clId="{43AB949D-DD98-4E71-84BA-6A27556F6C91}" dt="2021-09-24T06:46:21.175" v="4441" actId="122"/>
          <ac:spMkLst>
            <pc:docMk/>
            <pc:sldMk cId="3617080921" sldId="2495"/>
            <ac:spMk id="14" creationId="{B3E8F97C-ABB2-4A19-95F8-3B695F064573}"/>
          </ac:spMkLst>
        </pc:spChg>
        <pc:spChg chg="add del mod">
          <ac:chgData name="Gao, Tianyun (SI BP AUT EA PROD)" userId="25b3c3cc-5a46-4d03-a516-a1293833cff3" providerId="ADAL" clId="{43AB949D-DD98-4E71-84BA-6A27556F6C91}" dt="2021-09-23T21:52:52.499" v="835" actId="478"/>
          <ac:spMkLst>
            <pc:docMk/>
            <pc:sldMk cId="3617080921" sldId="2495"/>
            <ac:spMk id="15" creationId="{1EDB5BC7-E6A3-44E9-B721-9E9FD3DB8A81}"/>
          </ac:spMkLst>
        </pc:spChg>
        <pc:spChg chg="add mod">
          <ac:chgData name="Gao, Tianyun (SI BP AUT EA PROD)" userId="25b3c3cc-5a46-4d03-a516-a1293833cff3" providerId="ADAL" clId="{43AB949D-DD98-4E71-84BA-6A27556F6C91}" dt="2021-09-23T22:05:52.934" v="1078" actId="1076"/>
          <ac:spMkLst>
            <pc:docMk/>
            <pc:sldMk cId="3617080921" sldId="2495"/>
            <ac:spMk id="16" creationId="{28A57370-8F4B-48B5-836F-5074CC21C5E0}"/>
          </ac:spMkLst>
        </pc:spChg>
        <pc:spChg chg="add del mod">
          <ac:chgData name="Gao, Tianyun (SI BP AUT EA PROD)" userId="25b3c3cc-5a46-4d03-a516-a1293833cff3" providerId="ADAL" clId="{43AB949D-DD98-4E71-84BA-6A27556F6C91}" dt="2021-09-23T21:56:51.330" v="851" actId="478"/>
          <ac:spMkLst>
            <pc:docMk/>
            <pc:sldMk cId="3617080921" sldId="2495"/>
            <ac:spMk id="18" creationId="{5B09703C-19DC-4116-ADF9-7CF0EA0ABF28}"/>
          </ac:spMkLst>
        </pc:spChg>
        <pc:spChg chg="add mod">
          <ac:chgData name="Gao, Tianyun (SI BP AUT EA PROD)" userId="25b3c3cc-5a46-4d03-a516-a1293833cff3" providerId="ADAL" clId="{43AB949D-DD98-4E71-84BA-6A27556F6C91}" dt="2021-09-23T22:08:57.796" v="1220" actId="208"/>
          <ac:spMkLst>
            <pc:docMk/>
            <pc:sldMk cId="3617080921" sldId="2495"/>
            <ac:spMk id="19" creationId="{76D3B8E7-F217-4033-9244-A53A49FDAFDF}"/>
          </ac:spMkLst>
        </pc:spChg>
        <pc:spChg chg="add mod">
          <ac:chgData name="Gao, Tianyun (SI BP AUT EA PROD)" userId="25b3c3cc-5a46-4d03-a516-a1293833cff3" providerId="ADAL" clId="{43AB949D-DD98-4E71-84BA-6A27556F6C91}" dt="2021-09-23T21:55:58.986" v="842" actId="1076"/>
          <ac:spMkLst>
            <pc:docMk/>
            <pc:sldMk cId="3617080921" sldId="2495"/>
            <ac:spMk id="20" creationId="{B93C5DE2-42CB-4D6F-9627-161EEB71AADA}"/>
          </ac:spMkLst>
        </pc:spChg>
        <pc:spChg chg="add del">
          <ac:chgData name="Gao, Tianyun (SI BP AUT EA PROD)" userId="25b3c3cc-5a46-4d03-a516-a1293833cff3" providerId="ADAL" clId="{43AB949D-DD98-4E71-84BA-6A27556F6C91}" dt="2021-09-23T22:00:50.818" v="904" actId="478"/>
          <ac:spMkLst>
            <pc:docMk/>
            <pc:sldMk cId="3617080921" sldId="2495"/>
            <ac:spMk id="21" creationId="{3AB305B5-699B-4C6E-B9EF-3BA948EE75D4}"/>
          </ac:spMkLst>
        </pc:spChg>
        <pc:spChg chg="add mod">
          <ac:chgData name="Gao, Tianyun (SI BP AUT EA PROD)" userId="25b3c3cc-5a46-4d03-a516-a1293833cff3" providerId="ADAL" clId="{43AB949D-DD98-4E71-84BA-6A27556F6C91}" dt="2021-09-24T06:46:17.086" v="4440" actId="1076"/>
          <ac:spMkLst>
            <pc:docMk/>
            <pc:sldMk cId="3617080921" sldId="2495"/>
            <ac:spMk id="22" creationId="{C483AC38-7550-4385-B304-62C70297DA02}"/>
          </ac:spMkLst>
        </pc:spChg>
        <pc:spChg chg="add mod">
          <ac:chgData name="Gao, Tianyun (SI BP AUT EA PROD)" userId="25b3c3cc-5a46-4d03-a516-a1293833cff3" providerId="ADAL" clId="{43AB949D-DD98-4E71-84BA-6A27556F6C91}" dt="2021-09-23T22:03:39.101" v="1009" actId="1076"/>
          <ac:spMkLst>
            <pc:docMk/>
            <pc:sldMk cId="3617080921" sldId="2495"/>
            <ac:spMk id="25" creationId="{5DF5100C-F290-4C0F-A9B9-7C9FDC6060DF}"/>
          </ac:spMkLst>
        </pc:spChg>
        <pc:spChg chg="add mod">
          <ac:chgData name="Gao, Tianyun (SI BP AUT EA PROD)" userId="25b3c3cc-5a46-4d03-a516-a1293833cff3" providerId="ADAL" clId="{43AB949D-DD98-4E71-84BA-6A27556F6C91}" dt="2021-09-24T06:38:30.267" v="4418" actId="20577"/>
          <ac:spMkLst>
            <pc:docMk/>
            <pc:sldMk cId="3617080921" sldId="2495"/>
            <ac:spMk id="27" creationId="{A103A0C4-915D-4AA5-A448-C78A9AB0DEC9}"/>
          </ac:spMkLst>
        </pc:spChg>
        <pc:spChg chg="add del mod">
          <ac:chgData name="Gao, Tianyun (SI BP AUT EA PROD)" userId="25b3c3cc-5a46-4d03-a516-a1293833cff3" providerId="ADAL" clId="{43AB949D-DD98-4E71-84BA-6A27556F6C91}" dt="2021-09-23T22:02:26.124" v="970" actId="478"/>
          <ac:spMkLst>
            <pc:docMk/>
            <pc:sldMk cId="3617080921" sldId="2495"/>
            <ac:spMk id="28" creationId="{BE117234-5841-48F6-883B-6D5359E411C0}"/>
          </ac:spMkLst>
        </pc:spChg>
        <pc:spChg chg="add mod">
          <ac:chgData name="Gao, Tianyun (SI BP AUT EA PROD)" userId="25b3c3cc-5a46-4d03-a516-a1293833cff3" providerId="ADAL" clId="{43AB949D-DD98-4E71-84BA-6A27556F6C91}" dt="2021-09-24T06:41:04.224" v="4430" actId="20577"/>
          <ac:spMkLst>
            <pc:docMk/>
            <pc:sldMk cId="3617080921" sldId="2495"/>
            <ac:spMk id="29" creationId="{CA5ABBD5-FD62-48E4-947A-F7700038C9CD}"/>
          </ac:spMkLst>
        </pc:spChg>
        <pc:spChg chg="add mod">
          <ac:chgData name="Gao, Tianyun (SI BP AUT EA PROD)" userId="25b3c3cc-5a46-4d03-a516-a1293833cff3" providerId="ADAL" clId="{43AB949D-DD98-4E71-84BA-6A27556F6C91}" dt="2021-09-24T06:41:37.918" v="4432" actId="1076"/>
          <ac:spMkLst>
            <pc:docMk/>
            <pc:sldMk cId="3617080921" sldId="2495"/>
            <ac:spMk id="31" creationId="{69426052-8C34-4070-A649-B01801B08EFA}"/>
          </ac:spMkLst>
        </pc:spChg>
        <pc:spChg chg="add mod">
          <ac:chgData name="Gao, Tianyun (SI BP AUT EA PROD)" userId="25b3c3cc-5a46-4d03-a516-a1293833cff3" providerId="ADAL" clId="{43AB949D-DD98-4E71-84BA-6A27556F6C91}" dt="2021-09-23T22:05:33.263" v="1074" actId="1076"/>
          <ac:spMkLst>
            <pc:docMk/>
            <pc:sldMk cId="3617080921" sldId="2495"/>
            <ac:spMk id="32" creationId="{53A682F4-D21B-49D7-9EBA-3A760FB03C33}"/>
          </ac:spMkLst>
        </pc:spChg>
        <pc:spChg chg="add mod">
          <ac:chgData name="Gao, Tianyun (SI BP AUT EA PROD)" userId="25b3c3cc-5a46-4d03-a516-a1293833cff3" providerId="ADAL" clId="{43AB949D-DD98-4E71-84BA-6A27556F6C91}" dt="2021-09-24T06:45:43.834" v="4438" actId="20577"/>
          <ac:spMkLst>
            <pc:docMk/>
            <pc:sldMk cId="3617080921" sldId="2495"/>
            <ac:spMk id="33" creationId="{875127C9-FCBA-48AB-9655-AA88E2B10637}"/>
          </ac:spMkLst>
        </pc:spChg>
        <pc:spChg chg="add mod">
          <ac:chgData name="Gao, Tianyun (SI BP AUT EA PROD)" userId="25b3c3cc-5a46-4d03-a516-a1293833cff3" providerId="ADAL" clId="{43AB949D-DD98-4E71-84BA-6A27556F6C91}" dt="2021-09-23T22:06:38.291" v="1144" actId="1076"/>
          <ac:spMkLst>
            <pc:docMk/>
            <pc:sldMk cId="3617080921" sldId="2495"/>
            <ac:spMk id="34" creationId="{C980011D-61EE-4F9D-966C-9E79F63971A0}"/>
          </ac:spMkLst>
        </pc:spChg>
        <pc:spChg chg="add mod">
          <ac:chgData name="Gao, Tianyun (SI BP AUT EA PROD)" userId="25b3c3cc-5a46-4d03-a516-a1293833cff3" providerId="ADAL" clId="{43AB949D-DD98-4E71-84BA-6A27556F6C91}" dt="2021-09-23T22:06:34.843" v="1143" actId="1076"/>
          <ac:spMkLst>
            <pc:docMk/>
            <pc:sldMk cId="3617080921" sldId="2495"/>
            <ac:spMk id="35" creationId="{AAFE5C34-B8AA-4E66-B456-300D645725DF}"/>
          </ac:spMkLst>
        </pc:spChg>
        <pc:spChg chg="add mod">
          <ac:chgData name="Gao, Tianyun (SI BP AUT EA PROD)" userId="25b3c3cc-5a46-4d03-a516-a1293833cff3" providerId="ADAL" clId="{43AB949D-DD98-4E71-84BA-6A27556F6C91}" dt="2021-09-23T22:06:49.489" v="1148" actId="1076"/>
          <ac:spMkLst>
            <pc:docMk/>
            <pc:sldMk cId="3617080921" sldId="2495"/>
            <ac:spMk id="36" creationId="{C972618A-32D5-4F0E-AF90-E3321311DC63}"/>
          </ac:spMkLst>
        </pc:spChg>
        <pc:spChg chg="add mod">
          <ac:chgData name="Gao, Tianyun (SI BP AUT EA PROD)" userId="25b3c3cc-5a46-4d03-a516-a1293833cff3" providerId="ADAL" clId="{43AB949D-DD98-4E71-84BA-6A27556F6C91}" dt="2021-09-23T22:08:28.771" v="1215" actId="1076"/>
          <ac:spMkLst>
            <pc:docMk/>
            <pc:sldMk cId="3617080921" sldId="2495"/>
            <ac:spMk id="37" creationId="{92FDA62D-6306-4AEC-8D33-7ACBB9D53739}"/>
          </ac:spMkLst>
        </pc:spChg>
        <pc:spChg chg="add mod">
          <ac:chgData name="Gao, Tianyun (SI BP AUT EA PROD)" userId="25b3c3cc-5a46-4d03-a516-a1293833cff3" providerId="ADAL" clId="{43AB949D-DD98-4E71-84BA-6A27556F6C91}" dt="2021-09-23T22:08:31.794" v="1216" actId="1076"/>
          <ac:spMkLst>
            <pc:docMk/>
            <pc:sldMk cId="3617080921" sldId="2495"/>
            <ac:spMk id="38" creationId="{D1CFCD05-E3E6-47ED-BA4C-FCE8ADD2CCF7}"/>
          </ac:spMkLst>
        </pc:spChg>
        <pc:spChg chg="add mod">
          <ac:chgData name="Gao, Tianyun (SI BP AUT EA PROD)" userId="25b3c3cc-5a46-4d03-a516-a1293833cff3" providerId="ADAL" clId="{43AB949D-DD98-4E71-84BA-6A27556F6C91}" dt="2021-09-23T22:08:34.675" v="1217" actId="1076"/>
          <ac:spMkLst>
            <pc:docMk/>
            <pc:sldMk cId="3617080921" sldId="2495"/>
            <ac:spMk id="39" creationId="{53E677A6-0172-4202-9F2E-38CAE5B50818}"/>
          </ac:spMkLst>
        </pc:spChg>
        <pc:picChg chg="add mod">
          <ac:chgData name="Gao, Tianyun (SI BP AUT EA PROD)" userId="25b3c3cc-5a46-4d03-a516-a1293833cff3" providerId="ADAL" clId="{43AB949D-DD98-4E71-84BA-6A27556F6C91}" dt="2021-09-23T21:52:44.300" v="834" actId="1076"/>
          <ac:picMkLst>
            <pc:docMk/>
            <pc:sldMk cId="3617080921" sldId="2495"/>
            <ac:picMk id="3" creationId="{383A8F7F-EAB8-4605-9BDA-98FAADD6B10A}"/>
          </ac:picMkLst>
        </pc:picChg>
        <pc:picChg chg="add del mod">
          <ac:chgData name="Gao, Tianyun (SI BP AUT EA PROD)" userId="25b3c3cc-5a46-4d03-a516-a1293833cff3" providerId="ADAL" clId="{43AB949D-DD98-4E71-84BA-6A27556F6C91}" dt="2021-09-23T21:55:31.906" v="840" actId="478"/>
          <ac:picMkLst>
            <pc:docMk/>
            <pc:sldMk cId="3617080921" sldId="2495"/>
            <ac:picMk id="5" creationId="{3A77D85F-7D24-4552-8AD8-2970459DEA36}"/>
          </ac:picMkLst>
        </pc:picChg>
        <pc:picChg chg="add mod">
          <ac:chgData name="Gao, Tianyun (SI BP AUT EA PROD)" userId="25b3c3cc-5a46-4d03-a516-a1293833cff3" providerId="ADAL" clId="{43AB949D-DD98-4E71-84BA-6A27556F6C91}" dt="2021-09-23T22:05:52.934" v="1078" actId="1076"/>
          <ac:picMkLst>
            <pc:docMk/>
            <pc:sldMk cId="3617080921" sldId="2495"/>
            <ac:picMk id="7" creationId="{0E165EF4-E01E-40E7-A654-3855D292C061}"/>
          </ac:picMkLst>
        </pc:picChg>
        <pc:picChg chg="add mod">
          <ac:chgData name="Gao, Tianyun (SI BP AUT EA PROD)" userId="25b3c3cc-5a46-4d03-a516-a1293833cff3" providerId="ADAL" clId="{43AB949D-DD98-4E71-84BA-6A27556F6C91}" dt="2021-09-23T21:56:57.852" v="859" actId="1038"/>
          <ac:picMkLst>
            <pc:docMk/>
            <pc:sldMk cId="3617080921" sldId="2495"/>
            <ac:picMk id="9" creationId="{8694EFA8-1225-42FA-9FCB-131E6C54F4EF}"/>
          </ac:picMkLst>
        </pc:picChg>
        <pc:picChg chg="add del mod">
          <ac:chgData name="Gao, Tianyun (SI BP AUT EA PROD)" userId="25b3c3cc-5a46-4d03-a516-a1293833cff3" providerId="ADAL" clId="{43AB949D-DD98-4E71-84BA-6A27556F6C91}" dt="2021-09-23T21:56:11.030" v="845" actId="478"/>
          <ac:picMkLst>
            <pc:docMk/>
            <pc:sldMk cId="3617080921" sldId="2495"/>
            <ac:picMk id="17" creationId="{78FE3120-2749-46AB-ADDC-0983C1D63B8C}"/>
          </ac:picMkLst>
        </pc:picChg>
        <pc:picChg chg="add mod">
          <ac:chgData name="Gao, Tianyun (SI BP AUT EA PROD)" userId="25b3c3cc-5a46-4d03-a516-a1293833cff3" providerId="ADAL" clId="{43AB949D-DD98-4E71-84BA-6A27556F6C91}" dt="2021-09-23T22:01:44.909" v="909" actId="1076"/>
          <ac:picMkLst>
            <pc:docMk/>
            <pc:sldMk cId="3617080921" sldId="2495"/>
            <ac:picMk id="24" creationId="{D987CD76-BEC3-4F7A-8FC4-54EB49CEE090}"/>
          </ac:picMkLst>
        </pc:picChg>
        <pc:picChg chg="add mod">
          <ac:chgData name="Gao, Tianyun (SI BP AUT EA PROD)" userId="25b3c3cc-5a46-4d03-a516-a1293833cff3" providerId="ADAL" clId="{43AB949D-DD98-4E71-84BA-6A27556F6C91}" dt="2021-09-23T22:01:47.340" v="910" actId="1076"/>
          <ac:picMkLst>
            <pc:docMk/>
            <pc:sldMk cId="3617080921" sldId="2495"/>
            <ac:picMk id="26" creationId="{9CE835A3-480B-4436-AFB7-B4C2CA6A9E79}"/>
          </ac:picMkLst>
        </pc:picChg>
      </pc:sldChg>
      <pc:sldChg chg="addSp delSp modSp add mod">
        <pc:chgData name="Gao, Tianyun (SI BP AUT EA PROD)" userId="25b3c3cc-5a46-4d03-a516-a1293833cff3" providerId="ADAL" clId="{43AB949D-DD98-4E71-84BA-6A27556F6C91}" dt="2021-09-24T07:51:54.937" v="4976" actId="20577"/>
        <pc:sldMkLst>
          <pc:docMk/>
          <pc:sldMk cId="981125185" sldId="2496"/>
        </pc:sldMkLst>
        <pc:spChg chg="del">
          <ac:chgData name="Gao, Tianyun (SI BP AUT EA PROD)" userId="25b3c3cc-5a46-4d03-a516-a1293833cff3" providerId="ADAL" clId="{43AB949D-DD98-4E71-84BA-6A27556F6C91}" dt="2021-09-23T22:12:21.633" v="1296" actId="478"/>
          <ac:spMkLst>
            <pc:docMk/>
            <pc:sldMk cId="981125185" sldId="2496"/>
            <ac:spMk id="14" creationId="{B3E8F97C-ABB2-4A19-95F8-3B695F064573}"/>
          </ac:spMkLst>
        </pc:spChg>
        <pc:spChg chg="del">
          <ac:chgData name="Gao, Tianyun (SI BP AUT EA PROD)" userId="25b3c3cc-5a46-4d03-a516-a1293833cff3" providerId="ADAL" clId="{43AB949D-DD98-4E71-84BA-6A27556F6C91}" dt="2021-09-23T22:12:21.633" v="1296" actId="478"/>
          <ac:spMkLst>
            <pc:docMk/>
            <pc:sldMk cId="981125185" sldId="2496"/>
            <ac:spMk id="16" creationId="{28A57370-8F4B-48B5-836F-5074CC21C5E0}"/>
          </ac:spMkLst>
        </pc:spChg>
        <pc:spChg chg="del">
          <ac:chgData name="Gao, Tianyun (SI BP AUT EA PROD)" userId="25b3c3cc-5a46-4d03-a516-a1293833cff3" providerId="ADAL" clId="{43AB949D-DD98-4E71-84BA-6A27556F6C91}" dt="2021-09-23T22:12:21.633" v="1296" actId="478"/>
          <ac:spMkLst>
            <pc:docMk/>
            <pc:sldMk cId="981125185" sldId="2496"/>
            <ac:spMk id="19" creationId="{76D3B8E7-F217-4033-9244-A53A49FDAFDF}"/>
          </ac:spMkLst>
        </pc:spChg>
        <pc:spChg chg="del">
          <ac:chgData name="Gao, Tianyun (SI BP AUT EA PROD)" userId="25b3c3cc-5a46-4d03-a516-a1293833cff3" providerId="ADAL" clId="{43AB949D-DD98-4E71-84BA-6A27556F6C91}" dt="2021-09-23T22:12:21.633" v="1296" actId="478"/>
          <ac:spMkLst>
            <pc:docMk/>
            <pc:sldMk cId="981125185" sldId="2496"/>
            <ac:spMk id="20" creationId="{B93C5DE2-42CB-4D6F-9627-161EEB71AADA}"/>
          </ac:spMkLst>
        </pc:spChg>
        <pc:spChg chg="del">
          <ac:chgData name="Gao, Tianyun (SI BP AUT EA PROD)" userId="25b3c3cc-5a46-4d03-a516-a1293833cff3" providerId="ADAL" clId="{43AB949D-DD98-4E71-84BA-6A27556F6C91}" dt="2021-09-23T22:12:21.633" v="1296" actId="478"/>
          <ac:spMkLst>
            <pc:docMk/>
            <pc:sldMk cId="981125185" sldId="2496"/>
            <ac:spMk id="22" creationId="{C483AC38-7550-4385-B304-62C70297DA02}"/>
          </ac:spMkLst>
        </pc:spChg>
        <pc:spChg chg="del">
          <ac:chgData name="Gao, Tianyun (SI BP AUT EA PROD)" userId="25b3c3cc-5a46-4d03-a516-a1293833cff3" providerId="ADAL" clId="{43AB949D-DD98-4E71-84BA-6A27556F6C91}" dt="2021-09-23T22:12:21.633" v="1296" actId="478"/>
          <ac:spMkLst>
            <pc:docMk/>
            <pc:sldMk cId="981125185" sldId="2496"/>
            <ac:spMk id="25" creationId="{5DF5100C-F290-4C0F-A9B9-7C9FDC6060DF}"/>
          </ac:spMkLst>
        </pc:spChg>
        <pc:spChg chg="del">
          <ac:chgData name="Gao, Tianyun (SI BP AUT EA PROD)" userId="25b3c3cc-5a46-4d03-a516-a1293833cff3" providerId="ADAL" clId="{43AB949D-DD98-4E71-84BA-6A27556F6C91}" dt="2021-09-23T22:12:21.633" v="1296" actId="478"/>
          <ac:spMkLst>
            <pc:docMk/>
            <pc:sldMk cId="981125185" sldId="2496"/>
            <ac:spMk id="27" creationId="{A103A0C4-915D-4AA5-A448-C78A9AB0DEC9}"/>
          </ac:spMkLst>
        </pc:spChg>
        <pc:spChg chg="del">
          <ac:chgData name="Gao, Tianyun (SI BP AUT EA PROD)" userId="25b3c3cc-5a46-4d03-a516-a1293833cff3" providerId="ADAL" clId="{43AB949D-DD98-4E71-84BA-6A27556F6C91}" dt="2021-09-23T22:12:21.633" v="1296" actId="478"/>
          <ac:spMkLst>
            <pc:docMk/>
            <pc:sldMk cId="981125185" sldId="2496"/>
            <ac:spMk id="29" creationId="{CA5ABBD5-FD62-48E4-947A-F7700038C9CD}"/>
          </ac:spMkLst>
        </pc:spChg>
        <pc:spChg chg="add mod">
          <ac:chgData name="Gao, Tianyun (SI BP AUT EA PROD)" userId="25b3c3cc-5a46-4d03-a516-a1293833cff3" providerId="ADAL" clId="{43AB949D-DD98-4E71-84BA-6A27556F6C91}" dt="2021-09-23T22:12:23.074" v="1297"/>
          <ac:spMkLst>
            <pc:docMk/>
            <pc:sldMk cId="981125185" sldId="2496"/>
            <ac:spMk id="30" creationId="{1188C648-6BAF-45F2-9DC8-CC5693773129}"/>
          </ac:spMkLst>
        </pc:spChg>
        <pc:spChg chg="del">
          <ac:chgData name="Gao, Tianyun (SI BP AUT EA PROD)" userId="25b3c3cc-5a46-4d03-a516-a1293833cff3" providerId="ADAL" clId="{43AB949D-DD98-4E71-84BA-6A27556F6C91}" dt="2021-09-23T22:12:21.633" v="1296" actId="478"/>
          <ac:spMkLst>
            <pc:docMk/>
            <pc:sldMk cId="981125185" sldId="2496"/>
            <ac:spMk id="31" creationId="{69426052-8C34-4070-A649-B01801B08EFA}"/>
          </ac:spMkLst>
        </pc:spChg>
        <pc:spChg chg="del">
          <ac:chgData name="Gao, Tianyun (SI BP AUT EA PROD)" userId="25b3c3cc-5a46-4d03-a516-a1293833cff3" providerId="ADAL" clId="{43AB949D-DD98-4E71-84BA-6A27556F6C91}" dt="2021-09-23T22:12:21.633" v="1296" actId="478"/>
          <ac:spMkLst>
            <pc:docMk/>
            <pc:sldMk cId="981125185" sldId="2496"/>
            <ac:spMk id="32" creationId="{53A682F4-D21B-49D7-9EBA-3A760FB03C33}"/>
          </ac:spMkLst>
        </pc:spChg>
        <pc:spChg chg="del">
          <ac:chgData name="Gao, Tianyun (SI BP AUT EA PROD)" userId="25b3c3cc-5a46-4d03-a516-a1293833cff3" providerId="ADAL" clId="{43AB949D-DD98-4E71-84BA-6A27556F6C91}" dt="2021-09-23T22:12:21.633" v="1296" actId="478"/>
          <ac:spMkLst>
            <pc:docMk/>
            <pc:sldMk cId="981125185" sldId="2496"/>
            <ac:spMk id="33" creationId="{875127C9-FCBA-48AB-9655-AA88E2B10637}"/>
          </ac:spMkLst>
        </pc:spChg>
        <pc:spChg chg="del">
          <ac:chgData name="Gao, Tianyun (SI BP AUT EA PROD)" userId="25b3c3cc-5a46-4d03-a516-a1293833cff3" providerId="ADAL" clId="{43AB949D-DD98-4E71-84BA-6A27556F6C91}" dt="2021-09-23T22:12:21.633" v="1296" actId="478"/>
          <ac:spMkLst>
            <pc:docMk/>
            <pc:sldMk cId="981125185" sldId="2496"/>
            <ac:spMk id="34" creationId="{C980011D-61EE-4F9D-966C-9E79F63971A0}"/>
          </ac:spMkLst>
        </pc:spChg>
        <pc:spChg chg="del">
          <ac:chgData name="Gao, Tianyun (SI BP AUT EA PROD)" userId="25b3c3cc-5a46-4d03-a516-a1293833cff3" providerId="ADAL" clId="{43AB949D-DD98-4E71-84BA-6A27556F6C91}" dt="2021-09-23T22:12:21.633" v="1296" actId="478"/>
          <ac:spMkLst>
            <pc:docMk/>
            <pc:sldMk cId="981125185" sldId="2496"/>
            <ac:spMk id="35" creationId="{AAFE5C34-B8AA-4E66-B456-300D645725DF}"/>
          </ac:spMkLst>
        </pc:spChg>
        <pc:spChg chg="del">
          <ac:chgData name="Gao, Tianyun (SI BP AUT EA PROD)" userId="25b3c3cc-5a46-4d03-a516-a1293833cff3" providerId="ADAL" clId="{43AB949D-DD98-4E71-84BA-6A27556F6C91}" dt="2021-09-23T22:12:21.633" v="1296" actId="478"/>
          <ac:spMkLst>
            <pc:docMk/>
            <pc:sldMk cId="981125185" sldId="2496"/>
            <ac:spMk id="36" creationId="{C972618A-32D5-4F0E-AF90-E3321311DC63}"/>
          </ac:spMkLst>
        </pc:spChg>
        <pc:spChg chg="del">
          <ac:chgData name="Gao, Tianyun (SI BP AUT EA PROD)" userId="25b3c3cc-5a46-4d03-a516-a1293833cff3" providerId="ADAL" clId="{43AB949D-DD98-4E71-84BA-6A27556F6C91}" dt="2021-09-23T22:12:21.633" v="1296" actId="478"/>
          <ac:spMkLst>
            <pc:docMk/>
            <pc:sldMk cId="981125185" sldId="2496"/>
            <ac:spMk id="37" creationId="{92FDA62D-6306-4AEC-8D33-7ACBB9D53739}"/>
          </ac:spMkLst>
        </pc:spChg>
        <pc:spChg chg="del">
          <ac:chgData name="Gao, Tianyun (SI BP AUT EA PROD)" userId="25b3c3cc-5a46-4d03-a516-a1293833cff3" providerId="ADAL" clId="{43AB949D-DD98-4E71-84BA-6A27556F6C91}" dt="2021-09-23T22:12:21.633" v="1296" actId="478"/>
          <ac:spMkLst>
            <pc:docMk/>
            <pc:sldMk cId="981125185" sldId="2496"/>
            <ac:spMk id="38" creationId="{D1CFCD05-E3E6-47ED-BA4C-FCE8ADD2CCF7}"/>
          </ac:spMkLst>
        </pc:spChg>
        <pc:spChg chg="del">
          <ac:chgData name="Gao, Tianyun (SI BP AUT EA PROD)" userId="25b3c3cc-5a46-4d03-a516-a1293833cff3" providerId="ADAL" clId="{43AB949D-DD98-4E71-84BA-6A27556F6C91}" dt="2021-09-23T22:12:21.633" v="1296" actId="478"/>
          <ac:spMkLst>
            <pc:docMk/>
            <pc:sldMk cId="981125185" sldId="2496"/>
            <ac:spMk id="39" creationId="{53E677A6-0172-4202-9F2E-38CAE5B50818}"/>
          </ac:spMkLst>
        </pc:spChg>
        <pc:spChg chg="add mod">
          <ac:chgData name="Gao, Tianyun (SI BP AUT EA PROD)" userId="25b3c3cc-5a46-4d03-a516-a1293833cff3" providerId="ADAL" clId="{43AB949D-DD98-4E71-84BA-6A27556F6C91}" dt="2021-09-23T22:12:23.074" v="1297"/>
          <ac:spMkLst>
            <pc:docMk/>
            <pc:sldMk cId="981125185" sldId="2496"/>
            <ac:spMk id="40" creationId="{2CE53672-8924-4875-92FB-AB4174AF7AEE}"/>
          </ac:spMkLst>
        </pc:spChg>
        <pc:spChg chg="add mod">
          <ac:chgData name="Gao, Tianyun (SI BP AUT EA PROD)" userId="25b3c3cc-5a46-4d03-a516-a1293833cff3" providerId="ADAL" clId="{43AB949D-DD98-4E71-84BA-6A27556F6C91}" dt="2021-09-23T22:12:23.074" v="1297"/>
          <ac:spMkLst>
            <pc:docMk/>
            <pc:sldMk cId="981125185" sldId="2496"/>
            <ac:spMk id="43" creationId="{7F2E00D5-9EC5-47B5-87A8-E9353C124C75}"/>
          </ac:spMkLst>
        </pc:spChg>
        <pc:spChg chg="mod">
          <ac:chgData name="Gao, Tianyun (SI BP AUT EA PROD)" userId="25b3c3cc-5a46-4d03-a516-a1293833cff3" providerId="ADAL" clId="{43AB949D-DD98-4E71-84BA-6A27556F6C91}" dt="2021-09-23T22:12:23.074" v="1297"/>
          <ac:spMkLst>
            <pc:docMk/>
            <pc:sldMk cId="981125185" sldId="2496"/>
            <ac:spMk id="45" creationId="{8E071CFC-0ADD-4244-A5EC-FD0771A37955}"/>
          </ac:spMkLst>
        </pc:spChg>
        <pc:spChg chg="mod">
          <ac:chgData name="Gao, Tianyun (SI BP AUT EA PROD)" userId="25b3c3cc-5a46-4d03-a516-a1293833cff3" providerId="ADAL" clId="{43AB949D-DD98-4E71-84BA-6A27556F6C91}" dt="2021-09-23T22:12:23.074" v="1297"/>
          <ac:spMkLst>
            <pc:docMk/>
            <pc:sldMk cId="981125185" sldId="2496"/>
            <ac:spMk id="46" creationId="{1B9B6592-83B6-4846-BADD-6A0B8B2B3D29}"/>
          </ac:spMkLst>
        </pc:spChg>
        <pc:spChg chg="mod">
          <ac:chgData name="Gao, Tianyun (SI BP AUT EA PROD)" userId="25b3c3cc-5a46-4d03-a516-a1293833cff3" providerId="ADAL" clId="{43AB949D-DD98-4E71-84BA-6A27556F6C91}" dt="2021-09-23T22:12:23.074" v="1297"/>
          <ac:spMkLst>
            <pc:docMk/>
            <pc:sldMk cId="981125185" sldId="2496"/>
            <ac:spMk id="49" creationId="{6DE01FD1-8CCD-42FE-B4EC-65DAEDCD3D02}"/>
          </ac:spMkLst>
        </pc:spChg>
        <pc:spChg chg="mod">
          <ac:chgData name="Gao, Tianyun (SI BP AUT EA PROD)" userId="25b3c3cc-5a46-4d03-a516-a1293833cff3" providerId="ADAL" clId="{43AB949D-DD98-4E71-84BA-6A27556F6C91}" dt="2021-09-23T22:12:23.074" v="1297"/>
          <ac:spMkLst>
            <pc:docMk/>
            <pc:sldMk cId="981125185" sldId="2496"/>
            <ac:spMk id="50" creationId="{9AC1CE49-F9C8-4C12-B165-F36B422EA53E}"/>
          </ac:spMkLst>
        </pc:spChg>
        <pc:spChg chg="mod">
          <ac:chgData name="Gao, Tianyun (SI BP AUT EA PROD)" userId="25b3c3cc-5a46-4d03-a516-a1293833cff3" providerId="ADAL" clId="{43AB949D-DD98-4E71-84BA-6A27556F6C91}" dt="2021-09-23T22:12:23.074" v="1297"/>
          <ac:spMkLst>
            <pc:docMk/>
            <pc:sldMk cId="981125185" sldId="2496"/>
            <ac:spMk id="54" creationId="{E6A55A22-07D7-4CBA-B1FE-321AD6C381FD}"/>
          </ac:spMkLst>
        </pc:spChg>
        <pc:spChg chg="mod">
          <ac:chgData name="Gao, Tianyun (SI BP AUT EA PROD)" userId="25b3c3cc-5a46-4d03-a516-a1293833cff3" providerId="ADAL" clId="{43AB949D-DD98-4E71-84BA-6A27556F6C91}" dt="2021-09-23T22:12:23.074" v="1297"/>
          <ac:spMkLst>
            <pc:docMk/>
            <pc:sldMk cId="981125185" sldId="2496"/>
            <ac:spMk id="62" creationId="{02442D03-354F-4BEB-BEBA-270FB5396F19}"/>
          </ac:spMkLst>
        </pc:spChg>
        <pc:spChg chg="mod">
          <ac:chgData name="Gao, Tianyun (SI BP AUT EA PROD)" userId="25b3c3cc-5a46-4d03-a516-a1293833cff3" providerId="ADAL" clId="{43AB949D-DD98-4E71-84BA-6A27556F6C91}" dt="2021-09-23T22:12:23.074" v="1297"/>
          <ac:spMkLst>
            <pc:docMk/>
            <pc:sldMk cId="981125185" sldId="2496"/>
            <ac:spMk id="65" creationId="{871E0C33-09A8-4748-A921-5DBECDAD8A56}"/>
          </ac:spMkLst>
        </pc:spChg>
        <pc:spChg chg="mod">
          <ac:chgData name="Gao, Tianyun (SI BP AUT EA PROD)" userId="25b3c3cc-5a46-4d03-a516-a1293833cff3" providerId="ADAL" clId="{43AB949D-DD98-4E71-84BA-6A27556F6C91}" dt="2021-09-23T22:12:23.074" v="1297"/>
          <ac:spMkLst>
            <pc:docMk/>
            <pc:sldMk cId="981125185" sldId="2496"/>
            <ac:spMk id="72" creationId="{0FE00990-9A66-406A-BEDA-8E03A8F00585}"/>
          </ac:spMkLst>
        </pc:spChg>
        <pc:spChg chg="mod">
          <ac:chgData name="Gao, Tianyun (SI BP AUT EA PROD)" userId="25b3c3cc-5a46-4d03-a516-a1293833cff3" providerId="ADAL" clId="{43AB949D-DD98-4E71-84BA-6A27556F6C91}" dt="2021-09-23T22:12:23.074" v="1297"/>
          <ac:spMkLst>
            <pc:docMk/>
            <pc:sldMk cId="981125185" sldId="2496"/>
            <ac:spMk id="73" creationId="{8AF5D78E-A517-4B41-B9AC-0D7965ABB19D}"/>
          </ac:spMkLst>
        </pc:spChg>
        <pc:spChg chg="mod">
          <ac:chgData name="Gao, Tianyun (SI BP AUT EA PROD)" userId="25b3c3cc-5a46-4d03-a516-a1293833cff3" providerId="ADAL" clId="{43AB949D-DD98-4E71-84BA-6A27556F6C91}" dt="2021-09-23T22:12:23.074" v="1297"/>
          <ac:spMkLst>
            <pc:docMk/>
            <pc:sldMk cId="981125185" sldId="2496"/>
            <ac:spMk id="74" creationId="{D0ACCDB4-DC5E-4077-B7A7-6980E92C6C90}"/>
          </ac:spMkLst>
        </pc:spChg>
        <pc:spChg chg="mod">
          <ac:chgData name="Gao, Tianyun (SI BP AUT EA PROD)" userId="25b3c3cc-5a46-4d03-a516-a1293833cff3" providerId="ADAL" clId="{43AB949D-DD98-4E71-84BA-6A27556F6C91}" dt="2021-09-23T22:12:23.074" v="1297"/>
          <ac:spMkLst>
            <pc:docMk/>
            <pc:sldMk cId="981125185" sldId="2496"/>
            <ac:spMk id="75" creationId="{48CAAEF0-E227-4B14-A455-88304431CF57}"/>
          </ac:spMkLst>
        </pc:spChg>
        <pc:spChg chg="mod">
          <ac:chgData name="Gao, Tianyun (SI BP AUT EA PROD)" userId="25b3c3cc-5a46-4d03-a516-a1293833cff3" providerId="ADAL" clId="{43AB949D-DD98-4E71-84BA-6A27556F6C91}" dt="2021-09-23T22:12:23.074" v="1297"/>
          <ac:spMkLst>
            <pc:docMk/>
            <pc:sldMk cId="981125185" sldId="2496"/>
            <ac:spMk id="80" creationId="{2283F714-9480-4BD6-B53A-D4120DC929BF}"/>
          </ac:spMkLst>
        </pc:spChg>
        <pc:spChg chg="mod">
          <ac:chgData name="Gao, Tianyun (SI BP AUT EA PROD)" userId="25b3c3cc-5a46-4d03-a516-a1293833cff3" providerId="ADAL" clId="{43AB949D-DD98-4E71-84BA-6A27556F6C91}" dt="2021-09-23T22:12:23.074" v="1297"/>
          <ac:spMkLst>
            <pc:docMk/>
            <pc:sldMk cId="981125185" sldId="2496"/>
            <ac:spMk id="81" creationId="{D3593E66-D92E-4C5C-A604-37A77AB63869}"/>
          </ac:spMkLst>
        </pc:spChg>
        <pc:spChg chg="mod">
          <ac:chgData name="Gao, Tianyun (SI BP AUT EA PROD)" userId="25b3c3cc-5a46-4d03-a516-a1293833cff3" providerId="ADAL" clId="{43AB949D-DD98-4E71-84BA-6A27556F6C91}" dt="2021-09-23T22:12:23.074" v="1297"/>
          <ac:spMkLst>
            <pc:docMk/>
            <pc:sldMk cId="981125185" sldId="2496"/>
            <ac:spMk id="82" creationId="{374F9427-060A-44FE-8CC9-69258BD4EDDA}"/>
          </ac:spMkLst>
        </pc:spChg>
        <pc:spChg chg="mod">
          <ac:chgData name="Gao, Tianyun (SI BP AUT EA PROD)" userId="25b3c3cc-5a46-4d03-a516-a1293833cff3" providerId="ADAL" clId="{43AB949D-DD98-4E71-84BA-6A27556F6C91}" dt="2021-09-23T22:12:23.074" v="1297"/>
          <ac:spMkLst>
            <pc:docMk/>
            <pc:sldMk cId="981125185" sldId="2496"/>
            <ac:spMk id="83" creationId="{2CD091B9-8C96-4A22-BA67-1D80EE1D9E51}"/>
          </ac:spMkLst>
        </pc:spChg>
        <pc:spChg chg="add mod">
          <ac:chgData name="Gao, Tianyun (SI BP AUT EA PROD)" userId="25b3c3cc-5a46-4d03-a516-a1293833cff3" providerId="ADAL" clId="{43AB949D-DD98-4E71-84BA-6A27556F6C91}" dt="2021-09-23T22:12:23.074" v="1297"/>
          <ac:spMkLst>
            <pc:docMk/>
            <pc:sldMk cId="981125185" sldId="2496"/>
            <ac:spMk id="85" creationId="{9CD2A916-32D2-470E-BA9D-27137E464CA5}"/>
          </ac:spMkLst>
        </pc:spChg>
        <pc:spChg chg="mod">
          <ac:chgData name="Gao, Tianyun (SI BP AUT EA PROD)" userId="25b3c3cc-5a46-4d03-a516-a1293833cff3" providerId="ADAL" clId="{43AB949D-DD98-4E71-84BA-6A27556F6C91}" dt="2021-09-23T22:12:23.074" v="1297"/>
          <ac:spMkLst>
            <pc:docMk/>
            <pc:sldMk cId="981125185" sldId="2496"/>
            <ac:spMk id="87" creationId="{6536D23A-C25A-4423-9BC9-F5BD2A738463}"/>
          </ac:spMkLst>
        </pc:spChg>
        <pc:spChg chg="mod">
          <ac:chgData name="Gao, Tianyun (SI BP AUT EA PROD)" userId="25b3c3cc-5a46-4d03-a516-a1293833cff3" providerId="ADAL" clId="{43AB949D-DD98-4E71-84BA-6A27556F6C91}" dt="2021-09-23T22:12:23.074" v="1297"/>
          <ac:spMkLst>
            <pc:docMk/>
            <pc:sldMk cId="981125185" sldId="2496"/>
            <ac:spMk id="91" creationId="{36C84D6C-AF3A-44AB-B5FC-711B1EA2C9E4}"/>
          </ac:spMkLst>
        </pc:spChg>
        <pc:spChg chg="add mod">
          <ac:chgData name="Gao, Tianyun (SI BP AUT EA PROD)" userId="25b3c3cc-5a46-4d03-a516-a1293833cff3" providerId="ADAL" clId="{43AB949D-DD98-4E71-84BA-6A27556F6C91}" dt="2021-09-23T22:12:23.074" v="1297"/>
          <ac:spMkLst>
            <pc:docMk/>
            <pc:sldMk cId="981125185" sldId="2496"/>
            <ac:spMk id="94" creationId="{B8F23A14-DD5E-4D5B-8114-1AA9296A246C}"/>
          </ac:spMkLst>
        </pc:spChg>
        <pc:spChg chg="add mod">
          <ac:chgData name="Gao, Tianyun (SI BP AUT EA PROD)" userId="25b3c3cc-5a46-4d03-a516-a1293833cff3" providerId="ADAL" clId="{43AB949D-DD98-4E71-84BA-6A27556F6C91}" dt="2021-09-23T22:12:23.074" v="1297"/>
          <ac:spMkLst>
            <pc:docMk/>
            <pc:sldMk cId="981125185" sldId="2496"/>
            <ac:spMk id="95" creationId="{EE733D43-C7C9-4C94-A443-61FB5D0F1443}"/>
          </ac:spMkLst>
        </pc:spChg>
        <pc:spChg chg="add mod">
          <ac:chgData name="Gao, Tianyun (SI BP AUT EA PROD)" userId="25b3c3cc-5a46-4d03-a516-a1293833cff3" providerId="ADAL" clId="{43AB949D-DD98-4E71-84BA-6A27556F6C91}" dt="2021-09-23T22:12:23.074" v="1297"/>
          <ac:spMkLst>
            <pc:docMk/>
            <pc:sldMk cId="981125185" sldId="2496"/>
            <ac:spMk id="96" creationId="{FE0122C7-D966-4760-A6CE-7A3C14FAF87D}"/>
          </ac:spMkLst>
        </pc:spChg>
        <pc:spChg chg="add mod">
          <ac:chgData name="Gao, Tianyun (SI BP AUT EA PROD)" userId="25b3c3cc-5a46-4d03-a516-a1293833cff3" providerId="ADAL" clId="{43AB949D-DD98-4E71-84BA-6A27556F6C91}" dt="2021-09-23T22:12:23.074" v="1297"/>
          <ac:spMkLst>
            <pc:docMk/>
            <pc:sldMk cId="981125185" sldId="2496"/>
            <ac:spMk id="97" creationId="{4DC062BF-E375-4D7A-BB28-591570B8604D}"/>
          </ac:spMkLst>
        </pc:spChg>
        <pc:spChg chg="add mod">
          <ac:chgData name="Gao, Tianyun (SI BP AUT EA PROD)" userId="25b3c3cc-5a46-4d03-a516-a1293833cff3" providerId="ADAL" clId="{43AB949D-DD98-4E71-84BA-6A27556F6C91}" dt="2021-09-23T22:12:23.074" v="1297"/>
          <ac:spMkLst>
            <pc:docMk/>
            <pc:sldMk cId="981125185" sldId="2496"/>
            <ac:spMk id="99" creationId="{B838206D-CC08-4AD8-B86F-4B21014AA281}"/>
          </ac:spMkLst>
        </pc:spChg>
        <pc:spChg chg="add mod">
          <ac:chgData name="Gao, Tianyun (SI BP AUT EA PROD)" userId="25b3c3cc-5a46-4d03-a516-a1293833cff3" providerId="ADAL" clId="{43AB949D-DD98-4E71-84BA-6A27556F6C91}" dt="2021-09-23T22:12:23.074" v="1297"/>
          <ac:spMkLst>
            <pc:docMk/>
            <pc:sldMk cId="981125185" sldId="2496"/>
            <ac:spMk id="100" creationId="{FBD44D56-396D-4DF5-9B5A-1B04CDF37451}"/>
          </ac:spMkLst>
        </pc:spChg>
        <pc:spChg chg="add mod">
          <ac:chgData name="Gao, Tianyun (SI BP AUT EA PROD)" userId="25b3c3cc-5a46-4d03-a516-a1293833cff3" providerId="ADAL" clId="{43AB949D-DD98-4E71-84BA-6A27556F6C91}" dt="2021-09-23T22:12:23.074" v="1297"/>
          <ac:spMkLst>
            <pc:docMk/>
            <pc:sldMk cId="981125185" sldId="2496"/>
            <ac:spMk id="101" creationId="{0F3842CB-B415-4DEA-918B-2B4CAF9E024D}"/>
          </ac:spMkLst>
        </pc:spChg>
        <pc:spChg chg="add del mod">
          <ac:chgData name="Gao, Tianyun (SI BP AUT EA PROD)" userId="25b3c3cc-5a46-4d03-a516-a1293833cff3" providerId="ADAL" clId="{43AB949D-DD98-4E71-84BA-6A27556F6C91}" dt="2021-09-23T22:17:58.389" v="1402" actId="478"/>
          <ac:spMkLst>
            <pc:docMk/>
            <pc:sldMk cId="981125185" sldId="2496"/>
            <ac:spMk id="102" creationId="{832A7742-0B09-43E8-BF58-E8527BEA34AF}"/>
          </ac:spMkLst>
        </pc:spChg>
        <pc:spChg chg="add mod">
          <ac:chgData name="Gao, Tianyun (SI BP AUT EA PROD)" userId="25b3c3cc-5a46-4d03-a516-a1293833cff3" providerId="ADAL" clId="{43AB949D-DD98-4E71-84BA-6A27556F6C91}" dt="2021-09-24T07:51:54.937" v="4976" actId="20577"/>
          <ac:spMkLst>
            <pc:docMk/>
            <pc:sldMk cId="981125185" sldId="2496"/>
            <ac:spMk id="104" creationId="{138359A0-4F99-4CD4-A104-255B217F9BCE}"/>
          </ac:spMkLst>
        </pc:spChg>
        <pc:spChg chg="add mod">
          <ac:chgData name="Gao, Tianyun (SI BP AUT EA PROD)" userId="25b3c3cc-5a46-4d03-a516-a1293833cff3" providerId="ADAL" clId="{43AB949D-DD98-4E71-84BA-6A27556F6C91}" dt="2021-09-23T22:19:00.542" v="1443" actId="14100"/>
          <ac:spMkLst>
            <pc:docMk/>
            <pc:sldMk cId="981125185" sldId="2496"/>
            <ac:spMk id="105" creationId="{D0371368-BBC5-4384-9CA5-AFFD3FD0AA7A}"/>
          </ac:spMkLst>
        </pc:spChg>
        <pc:grpChg chg="add mod">
          <ac:chgData name="Gao, Tianyun (SI BP AUT EA PROD)" userId="25b3c3cc-5a46-4d03-a516-a1293833cff3" providerId="ADAL" clId="{43AB949D-DD98-4E71-84BA-6A27556F6C91}" dt="2021-09-23T22:12:23.074" v="1297"/>
          <ac:grpSpMkLst>
            <pc:docMk/>
            <pc:sldMk cId="981125185" sldId="2496"/>
            <ac:grpSpMk id="44" creationId="{824058ED-5D5A-4468-A05C-8B47D5EDF5F3}"/>
          </ac:grpSpMkLst>
        </pc:grpChg>
        <pc:grpChg chg="add mod">
          <ac:chgData name="Gao, Tianyun (SI BP AUT EA PROD)" userId="25b3c3cc-5a46-4d03-a516-a1293833cff3" providerId="ADAL" clId="{43AB949D-DD98-4E71-84BA-6A27556F6C91}" dt="2021-09-23T22:12:23.074" v="1297"/>
          <ac:grpSpMkLst>
            <pc:docMk/>
            <pc:sldMk cId="981125185" sldId="2496"/>
            <ac:grpSpMk id="48" creationId="{870AF27E-6CC3-4701-A688-1C0D81888521}"/>
          </ac:grpSpMkLst>
        </pc:grpChg>
        <pc:grpChg chg="add mod">
          <ac:chgData name="Gao, Tianyun (SI BP AUT EA PROD)" userId="25b3c3cc-5a46-4d03-a516-a1293833cff3" providerId="ADAL" clId="{43AB949D-DD98-4E71-84BA-6A27556F6C91}" dt="2021-09-23T22:12:23.074" v="1297"/>
          <ac:grpSpMkLst>
            <pc:docMk/>
            <pc:sldMk cId="981125185" sldId="2496"/>
            <ac:grpSpMk id="51" creationId="{33824546-D721-4232-9443-B923B3771D74}"/>
          </ac:grpSpMkLst>
        </pc:grpChg>
        <pc:grpChg chg="mod">
          <ac:chgData name="Gao, Tianyun (SI BP AUT EA PROD)" userId="25b3c3cc-5a46-4d03-a516-a1293833cff3" providerId="ADAL" clId="{43AB949D-DD98-4E71-84BA-6A27556F6C91}" dt="2021-09-23T22:12:23.074" v="1297"/>
          <ac:grpSpMkLst>
            <pc:docMk/>
            <pc:sldMk cId="981125185" sldId="2496"/>
            <ac:grpSpMk id="52" creationId="{0E6380E4-2B20-44D9-AEE3-C2D6E1A8A506}"/>
          </ac:grpSpMkLst>
        </pc:grpChg>
        <pc:grpChg chg="add mod">
          <ac:chgData name="Gao, Tianyun (SI BP AUT EA PROD)" userId="25b3c3cc-5a46-4d03-a516-a1293833cff3" providerId="ADAL" clId="{43AB949D-DD98-4E71-84BA-6A27556F6C91}" dt="2021-09-23T22:12:23.074" v="1297"/>
          <ac:grpSpMkLst>
            <pc:docMk/>
            <pc:sldMk cId="981125185" sldId="2496"/>
            <ac:grpSpMk id="57" creationId="{A5BC467E-F1FC-4762-91BE-C74A45AC2F87}"/>
          </ac:grpSpMkLst>
        </pc:grpChg>
        <pc:grpChg chg="mod">
          <ac:chgData name="Gao, Tianyun (SI BP AUT EA PROD)" userId="25b3c3cc-5a46-4d03-a516-a1293833cff3" providerId="ADAL" clId="{43AB949D-DD98-4E71-84BA-6A27556F6C91}" dt="2021-09-23T22:12:23.074" v="1297"/>
          <ac:grpSpMkLst>
            <pc:docMk/>
            <pc:sldMk cId="981125185" sldId="2496"/>
            <ac:grpSpMk id="58" creationId="{C40E5847-294F-413A-98EB-C4802FEEFEEC}"/>
          </ac:grpSpMkLst>
        </pc:grpChg>
        <pc:grpChg chg="mod">
          <ac:chgData name="Gao, Tianyun (SI BP AUT EA PROD)" userId="25b3c3cc-5a46-4d03-a516-a1293833cff3" providerId="ADAL" clId="{43AB949D-DD98-4E71-84BA-6A27556F6C91}" dt="2021-09-23T22:12:23.074" v="1297"/>
          <ac:grpSpMkLst>
            <pc:docMk/>
            <pc:sldMk cId="981125185" sldId="2496"/>
            <ac:grpSpMk id="59" creationId="{22FBC554-CD1C-4C0D-B10B-204BD991CFC2}"/>
          </ac:grpSpMkLst>
        </pc:grpChg>
        <pc:grpChg chg="add mod">
          <ac:chgData name="Gao, Tianyun (SI BP AUT EA PROD)" userId="25b3c3cc-5a46-4d03-a516-a1293833cff3" providerId="ADAL" clId="{43AB949D-DD98-4E71-84BA-6A27556F6C91}" dt="2021-09-23T22:12:23.074" v="1297"/>
          <ac:grpSpMkLst>
            <pc:docMk/>
            <pc:sldMk cId="981125185" sldId="2496"/>
            <ac:grpSpMk id="64" creationId="{FF852F69-D8DE-42D3-A34F-BAA402291F79}"/>
          </ac:grpSpMkLst>
        </pc:grpChg>
        <pc:grpChg chg="add mod">
          <ac:chgData name="Gao, Tianyun (SI BP AUT EA PROD)" userId="25b3c3cc-5a46-4d03-a516-a1293833cff3" providerId="ADAL" clId="{43AB949D-DD98-4E71-84BA-6A27556F6C91}" dt="2021-09-23T22:12:23.074" v="1297"/>
          <ac:grpSpMkLst>
            <pc:docMk/>
            <pc:sldMk cId="981125185" sldId="2496"/>
            <ac:grpSpMk id="70" creationId="{0CF82B51-0F0A-4CED-A8E5-9DCCC174B23F}"/>
          </ac:grpSpMkLst>
        </pc:grpChg>
        <pc:grpChg chg="add mod">
          <ac:chgData name="Gao, Tianyun (SI BP AUT EA PROD)" userId="25b3c3cc-5a46-4d03-a516-a1293833cff3" providerId="ADAL" clId="{43AB949D-DD98-4E71-84BA-6A27556F6C91}" dt="2021-09-23T22:12:23.074" v="1297"/>
          <ac:grpSpMkLst>
            <pc:docMk/>
            <pc:sldMk cId="981125185" sldId="2496"/>
            <ac:grpSpMk id="78" creationId="{1711D912-0748-49B3-8E0C-832E323EB870}"/>
          </ac:grpSpMkLst>
        </pc:grpChg>
        <pc:grpChg chg="add mod">
          <ac:chgData name="Gao, Tianyun (SI BP AUT EA PROD)" userId="25b3c3cc-5a46-4d03-a516-a1293833cff3" providerId="ADAL" clId="{43AB949D-DD98-4E71-84BA-6A27556F6C91}" dt="2021-09-23T22:12:23.074" v="1297"/>
          <ac:grpSpMkLst>
            <pc:docMk/>
            <pc:sldMk cId="981125185" sldId="2496"/>
            <ac:grpSpMk id="86" creationId="{63CA0D28-DE80-4B0C-9947-7BC600EE6E20}"/>
          </ac:grpSpMkLst>
        </pc:grpChg>
        <pc:grpChg chg="add mod">
          <ac:chgData name="Gao, Tianyun (SI BP AUT EA PROD)" userId="25b3c3cc-5a46-4d03-a516-a1293833cff3" providerId="ADAL" clId="{43AB949D-DD98-4E71-84BA-6A27556F6C91}" dt="2021-09-23T22:12:23.074" v="1297"/>
          <ac:grpSpMkLst>
            <pc:docMk/>
            <pc:sldMk cId="981125185" sldId="2496"/>
            <ac:grpSpMk id="90" creationId="{E59E5B2D-AFC6-4810-983A-D2DBF60A4889}"/>
          </ac:grpSpMkLst>
        </pc:grpChg>
        <pc:picChg chg="del">
          <ac:chgData name="Gao, Tianyun (SI BP AUT EA PROD)" userId="25b3c3cc-5a46-4d03-a516-a1293833cff3" providerId="ADAL" clId="{43AB949D-DD98-4E71-84BA-6A27556F6C91}" dt="2021-09-23T22:12:21.633" v="1296" actId="478"/>
          <ac:picMkLst>
            <pc:docMk/>
            <pc:sldMk cId="981125185" sldId="2496"/>
            <ac:picMk id="3" creationId="{383A8F7F-EAB8-4605-9BDA-98FAADD6B10A}"/>
          </ac:picMkLst>
        </pc:picChg>
        <pc:picChg chg="del">
          <ac:chgData name="Gao, Tianyun (SI BP AUT EA PROD)" userId="25b3c3cc-5a46-4d03-a516-a1293833cff3" providerId="ADAL" clId="{43AB949D-DD98-4E71-84BA-6A27556F6C91}" dt="2021-09-23T22:12:21.633" v="1296" actId="478"/>
          <ac:picMkLst>
            <pc:docMk/>
            <pc:sldMk cId="981125185" sldId="2496"/>
            <ac:picMk id="7" creationId="{0E165EF4-E01E-40E7-A654-3855D292C061}"/>
          </ac:picMkLst>
        </pc:picChg>
        <pc:picChg chg="del">
          <ac:chgData name="Gao, Tianyun (SI BP AUT EA PROD)" userId="25b3c3cc-5a46-4d03-a516-a1293833cff3" providerId="ADAL" clId="{43AB949D-DD98-4E71-84BA-6A27556F6C91}" dt="2021-09-23T22:12:21.633" v="1296" actId="478"/>
          <ac:picMkLst>
            <pc:docMk/>
            <pc:sldMk cId="981125185" sldId="2496"/>
            <ac:picMk id="9" creationId="{8694EFA8-1225-42FA-9FCB-131E6C54F4EF}"/>
          </ac:picMkLst>
        </pc:picChg>
        <pc:picChg chg="del">
          <ac:chgData name="Gao, Tianyun (SI BP AUT EA PROD)" userId="25b3c3cc-5a46-4d03-a516-a1293833cff3" providerId="ADAL" clId="{43AB949D-DD98-4E71-84BA-6A27556F6C91}" dt="2021-09-23T22:12:21.633" v="1296" actId="478"/>
          <ac:picMkLst>
            <pc:docMk/>
            <pc:sldMk cId="981125185" sldId="2496"/>
            <ac:picMk id="24" creationId="{D987CD76-BEC3-4F7A-8FC4-54EB49CEE090}"/>
          </ac:picMkLst>
        </pc:picChg>
        <pc:picChg chg="del">
          <ac:chgData name="Gao, Tianyun (SI BP AUT EA PROD)" userId="25b3c3cc-5a46-4d03-a516-a1293833cff3" providerId="ADAL" clId="{43AB949D-DD98-4E71-84BA-6A27556F6C91}" dt="2021-09-23T22:12:21.633" v="1296" actId="478"/>
          <ac:picMkLst>
            <pc:docMk/>
            <pc:sldMk cId="981125185" sldId="2496"/>
            <ac:picMk id="26" creationId="{9CE835A3-480B-4436-AFB7-B4C2CA6A9E79}"/>
          </ac:picMkLst>
        </pc:picChg>
        <pc:picChg chg="add mod">
          <ac:chgData name="Gao, Tianyun (SI BP AUT EA PROD)" userId="25b3c3cc-5a46-4d03-a516-a1293833cff3" providerId="ADAL" clId="{43AB949D-DD98-4E71-84BA-6A27556F6C91}" dt="2021-09-23T22:12:23.074" v="1297"/>
          <ac:picMkLst>
            <pc:docMk/>
            <pc:sldMk cId="981125185" sldId="2496"/>
            <ac:picMk id="28" creationId="{1ACE2F9F-B6FA-44D7-99F0-75EF4ABDAC86}"/>
          </ac:picMkLst>
        </pc:picChg>
        <pc:picChg chg="add del mod">
          <ac:chgData name="Gao, Tianyun (SI BP AUT EA PROD)" userId="25b3c3cc-5a46-4d03-a516-a1293833cff3" providerId="ADAL" clId="{43AB949D-DD98-4E71-84BA-6A27556F6C91}" dt="2021-09-23T22:12:26.258" v="1298" actId="478"/>
          <ac:picMkLst>
            <pc:docMk/>
            <pc:sldMk cId="981125185" sldId="2496"/>
            <ac:picMk id="41" creationId="{2BEF2DE6-C020-445C-8EBE-1D04C66A1C14}"/>
          </ac:picMkLst>
        </pc:picChg>
        <pc:picChg chg="add mod">
          <ac:chgData name="Gao, Tianyun (SI BP AUT EA PROD)" userId="25b3c3cc-5a46-4d03-a516-a1293833cff3" providerId="ADAL" clId="{43AB949D-DD98-4E71-84BA-6A27556F6C91}" dt="2021-09-23T22:14:11.698" v="1301" actId="1076"/>
          <ac:picMkLst>
            <pc:docMk/>
            <pc:sldMk cId="981125185" sldId="2496"/>
            <ac:picMk id="103" creationId="{1CC8858D-D277-412C-A327-B2F0CD9E5E84}"/>
          </ac:picMkLst>
        </pc:picChg>
        <pc:cxnChg chg="add mod">
          <ac:chgData name="Gao, Tianyun (SI BP AUT EA PROD)" userId="25b3c3cc-5a46-4d03-a516-a1293833cff3" providerId="ADAL" clId="{43AB949D-DD98-4E71-84BA-6A27556F6C91}" dt="2021-09-23T22:12:23.074" v="1297"/>
          <ac:cxnSpMkLst>
            <pc:docMk/>
            <pc:sldMk cId="981125185" sldId="2496"/>
            <ac:cxnSpMk id="42" creationId="{B6AD1BC8-1444-4B14-81A3-BACFAA761D93}"/>
          </ac:cxnSpMkLst>
        </pc:cxnChg>
        <pc:cxnChg chg="add mod">
          <ac:chgData name="Gao, Tianyun (SI BP AUT EA PROD)" userId="25b3c3cc-5a46-4d03-a516-a1293833cff3" providerId="ADAL" clId="{43AB949D-DD98-4E71-84BA-6A27556F6C91}" dt="2021-09-23T22:12:23.074" v="1297"/>
          <ac:cxnSpMkLst>
            <pc:docMk/>
            <pc:sldMk cId="981125185" sldId="2496"/>
            <ac:cxnSpMk id="47" creationId="{04B8DD7D-0D12-4397-818E-BCC77E2F41C7}"/>
          </ac:cxnSpMkLst>
        </pc:cxnChg>
        <pc:cxnChg chg="mod">
          <ac:chgData name="Gao, Tianyun (SI BP AUT EA PROD)" userId="25b3c3cc-5a46-4d03-a516-a1293833cff3" providerId="ADAL" clId="{43AB949D-DD98-4E71-84BA-6A27556F6C91}" dt="2021-09-23T22:12:23.074" v="1297"/>
          <ac:cxnSpMkLst>
            <pc:docMk/>
            <pc:sldMk cId="981125185" sldId="2496"/>
            <ac:cxnSpMk id="53" creationId="{C6698F83-EC0B-41D7-A617-E6AAA97DD8B1}"/>
          </ac:cxnSpMkLst>
        </pc:cxnChg>
        <pc:cxnChg chg="mod">
          <ac:chgData name="Gao, Tianyun (SI BP AUT EA PROD)" userId="25b3c3cc-5a46-4d03-a516-a1293833cff3" providerId="ADAL" clId="{43AB949D-DD98-4E71-84BA-6A27556F6C91}" dt="2021-09-23T22:12:23.074" v="1297"/>
          <ac:cxnSpMkLst>
            <pc:docMk/>
            <pc:sldMk cId="981125185" sldId="2496"/>
            <ac:cxnSpMk id="55" creationId="{D9F9700B-1A5F-41E5-A269-99B66A7D8456}"/>
          </ac:cxnSpMkLst>
        </pc:cxnChg>
        <pc:cxnChg chg="mod">
          <ac:chgData name="Gao, Tianyun (SI BP AUT EA PROD)" userId="25b3c3cc-5a46-4d03-a516-a1293833cff3" providerId="ADAL" clId="{43AB949D-DD98-4E71-84BA-6A27556F6C91}" dt="2021-09-23T22:12:23.074" v="1297"/>
          <ac:cxnSpMkLst>
            <pc:docMk/>
            <pc:sldMk cId="981125185" sldId="2496"/>
            <ac:cxnSpMk id="56" creationId="{AE6EA885-7CED-47A7-A7F9-C6FA450D0191}"/>
          </ac:cxnSpMkLst>
        </pc:cxnChg>
        <pc:cxnChg chg="mod">
          <ac:chgData name="Gao, Tianyun (SI BP AUT EA PROD)" userId="25b3c3cc-5a46-4d03-a516-a1293833cff3" providerId="ADAL" clId="{43AB949D-DD98-4E71-84BA-6A27556F6C91}" dt="2021-09-23T22:12:23.074" v="1297"/>
          <ac:cxnSpMkLst>
            <pc:docMk/>
            <pc:sldMk cId="981125185" sldId="2496"/>
            <ac:cxnSpMk id="60" creationId="{2AC00541-7C6F-4878-89C1-01A808744EAD}"/>
          </ac:cxnSpMkLst>
        </pc:cxnChg>
        <pc:cxnChg chg="mod">
          <ac:chgData name="Gao, Tianyun (SI BP AUT EA PROD)" userId="25b3c3cc-5a46-4d03-a516-a1293833cff3" providerId="ADAL" clId="{43AB949D-DD98-4E71-84BA-6A27556F6C91}" dt="2021-09-23T22:12:23.074" v="1297"/>
          <ac:cxnSpMkLst>
            <pc:docMk/>
            <pc:sldMk cId="981125185" sldId="2496"/>
            <ac:cxnSpMk id="61" creationId="{248C68E0-A9E3-4C03-BA69-E90E616FF69A}"/>
          </ac:cxnSpMkLst>
        </pc:cxnChg>
        <pc:cxnChg chg="mod">
          <ac:chgData name="Gao, Tianyun (SI BP AUT EA PROD)" userId="25b3c3cc-5a46-4d03-a516-a1293833cff3" providerId="ADAL" clId="{43AB949D-DD98-4E71-84BA-6A27556F6C91}" dt="2021-09-23T22:12:23.074" v="1297"/>
          <ac:cxnSpMkLst>
            <pc:docMk/>
            <pc:sldMk cId="981125185" sldId="2496"/>
            <ac:cxnSpMk id="63" creationId="{4677C7D5-6965-44EA-84D6-5483C86471CF}"/>
          </ac:cxnSpMkLst>
        </pc:cxnChg>
        <pc:cxnChg chg="mod">
          <ac:chgData name="Gao, Tianyun (SI BP AUT EA PROD)" userId="25b3c3cc-5a46-4d03-a516-a1293833cff3" providerId="ADAL" clId="{43AB949D-DD98-4E71-84BA-6A27556F6C91}" dt="2021-09-23T22:12:23.074" v="1297"/>
          <ac:cxnSpMkLst>
            <pc:docMk/>
            <pc:sldMk cId="981125185" sldId="2496"/>
            <ac:cxnSpMk id="66" creationId="{2F4B81BC-8DAE-4FCC-BB24-52B5082DCF89}"/>
          </ac:cxnSpMkLst>
        </pc:cxnChg>
        <pc:cxnChg chg="mod">
          <ac:chgData name="Gao, Tianyun (SI BP AUT EA PROD)" userId="25b3c3cc-5a46-4d03-a516-a1293833cff3" providerId="ADAL" clId="{43AB949D-DD98-4E71-84BA-6A27556F6C91}" dt="2021-09-23T22:12:23.074" v="1297"/>
          <ac:cxnSpMkLst>
            <pc:docMk/>
            <pc:sldMk cId="981125185" sldId="2496"/>
            <ac:cxnSpMk id="67" creationId="{E476E88E-0A02-4717-8AD7-BF2895D7985A}"/>
          </ac:cxnSpMkLst>
        </pc:cxnChg>
        <pc:cxnChg chg="add mod">
          <ac:chgData name="Gao, Tianyun (SI BP AUT EA PROD)" userId="25b3c3cc-5a46-4d03-a516-a1293833cff3" providerId="ADAL" clId="{43AB949D-DD98-4E71-84BA-6A27556F6C91}" dt="2021-09-23T22:12:23.074" v="1297"/>
          <ac:cxnSpMkLst>
            <pc:docMk/>
            <pc:sldMk cId="981125185" sldId="2496"/>
            <ac:cxnSpMk id="68" creationId="{1586F229-52CF-441E-BAA0-2E4FB3A12DA7}"/>
          </ac:cxnSpMkLst>
        </pc:cxnChg>
        <pc:cxnChg chg="add mod">
          <ac:chgData name="Gao, Tianyun (SI BP AUT EA PROD)" userId="25b3c3cc-5a46-4d03-a516-a1293833cff3" providerId="ADAL" clId="{43AB949D-DD98-4E71-84BA-6A27556F6C91}" dt="2021-09-23T22:12:23.074" v="1297"/>
          <ac:cxnSpMkLst>
            <pc:docMk/>
            <pc:sldMk cId="981125185" sldId="2496"/>
            <ac:cxnSpMk id="69" creationId="{DE2F2A51-9851-42B2-B3FE-5E257D13D112}"/>
          </ac:cxnSpMkLst>
        </pc:cxnChg>
        <pc:cxnChg chg="mod">
          <ac:chgData name="Gao, Tianyun (SI BP AUT EA PROD)" userId="25b3c3cc-5a46-4d03-a516-a1293833cff3" providerId="ADAL" clId="{43AB949D-DD98-4E71-84BA-6A27556F6C91}" dt="2021-09-23T22:12:23.074" v="1297"/>
          <ac:cxnSpMkLst>
            <pc:docMk/>
            <pc:sldMk cId="981125185" sldId="2496"/>
            <ac:cxnSpMk id="71" creationId="{2EF356F4-1285-4004-AFEA-1737C05D8959}"/>
          </ac:cxnSpMkLst>
        </pc:cxnChg>
        <pc:cxnChg chg="add mod">
          <ac:chgData name="Gao, Tianyun (SI BP AUT EA PROD)" userId="25b3c3cc-5a46-4d03-a516-a1293833cff3" providerId="ADAL" clId="{43AB949D-DD98-4E71-84BA-6A27556F6C91}" dt="2021-09-23T22:12:23.074" v="1297"/>
          <ac:cxnSpMkLst>
            <pc:docMk/>
            <pc:sldMk cId="981125185" sldId="2496"/>
            <ac:cxnSpMk id="76" creationId="{1379FE01-FF51-42D5-91EE-D8B40078A10C}"/>
          </ac:cxnSpMkLst>
        </pc:cxnChg>
        <pc:cxnChg chg="add mod">
          <ac:chgData name="Gao, Tianyun (SI BP AUT EA PROD)" userId="25b3c3cc-5a46-4d03-a516-a1293833cff3" providerId="ADAL" clId="{43AB949D-DD98-4E71-84BA-6A27556F6C91}" dt="2021-09-23T22:12:23.074" v="1297"/>
          <ac:cxnSpMkLst>
            <pc:docMk/>
            <pc:sldMk cId="981125185" sldId="2496"/>
            <ac:cxnSpMk id="77" creationId="{E94DDB47-0EF3-41FB-9C98-66718A6B2DF0}"/>
          </ac:cxnSpMkLst>
        </pc:cxnChg>
        <pc:cxnChg chg="mod">
          <ac:chgData name="Gao, Tianyun (SI BP AUT EA PROD)" userId="25b3c3cc-5a46-4d03-a516-a1293833cff3" providerId="ADAL" clId="{43AB949D-DD98-4E71-84BA-6A27556F6C91}" dt="2021-09-23T22:12:23.074" v="1297"/>
          <ac:cxnSpMkLst>
            <pc:docMk/>
            <pc:sldMk cId="981125185" sldId="2496"/>
            <ac:cxnSpMk id="79" creationId="{4AEB5345-9B42-4EF8-930F-493FFFF70116}"/>
          </ac:cxnSpMkLst>
        </pc:cxnChg>
        <pc:cxnChg chg="add mod">
          <ac:chgData name="Gao, Tianyun (SI BP AUT EA PROD)" userId="25b3c3cc-5a46-4d03-a516-a1293833cff3" providerId="ADAL" clId="{43AB949D-DD98-4E71-84BA-6A27556F6C91}" dt="2021-09-23T22:12:23.074" v="1297"/>
          <ac:cxnSpMkLst>
            <pc:docMk/>
            <pc:sldMk cId="981125185" sldId="2496"/>
            <ac:cxnSpMk id="84" creationId="{5379F343-6BEE-4862-B243-EAE311C6CA45}"/>
          </ac:cxnSpMkLst>
        </pc:cxnChg>
        <pc:cxnChg chg="mod">
          <ac:chgData name="Gao, Tianyun (SI BP AUT EA PROD)" userId="25b3c3cc-5a46-4d03-a516-a1293833cff3" providerId="ADAL" clId="{43AB949D-DD98-4E71-84BA-6A27556F6C91}" dt="2021-09-23T22:12:23.074" v="1297"/>
          <ac:cxnSpMkLst>
            <pc:docMk/>
            <pc:sldMk cId="981125185" sldId="2496"/>
            <ac:cxnSpMk id="88" creationId="{B0F368AC-DADD-418A-9DFA-7B75FE741149}"/>
          </ac:cxnSpMkLst>
        </pc:cxnChg>
        <pc:cxnChg chg="mod">
          <ac:chgData name="Gao, Tianyun (SI BP AUT EA PROD)" userId="25b3c3cc-5a46-4d03-a516-a1293833cff3" providerId="ADAL" clId="{43AB949D-DD98-4E71-84BA-6A27556F6C91}" dt="2021-09-23T22:12:23.074" v="1297"/>
          <ac:cxnSpMkLst>
            <pc:docMk/>
            <pc:sldMk cId="981125185" sldId="2496"/>
            <ac:cxnSpMk id="89" creationId="{4EEF7888-1127-49AA-8EA0-D91A97CC6B97}"/>
          </ac:cxnSpMkLst>
        </pc:cxnChg>
        <pc:cxnChg chg="mod">
          <ac:chgData name="Gao, Tianyun (SI BP AUT EA PROD)" userId="25b3c3cc-5a46-4d03-a516-a1293833cff3" providerId="ADAL" clId="{43AB949D-DD98-4E71-84BA-6A27556F6C91}" dt="2021-09-23T22:12:23.074" v="1297"/>
          <ac:cxnSpMkLst>
            <pc:docMk/>
            <pc:sldMk cId="981125185" sldId="2496"/>
            <ac:cxnSpMk id="92" creationId="{ECF6A5A8-9190-4977-8E91-2416D2A1B927}"/>
          </ac:cxnSpMkLst>
        </pc:cxnChg>
        <pc:cxnChg chg="mod">
          <ac:chgData name="Gao, Tianyun (SI BP AUT EA PROD)" userId="25b3c3cc-5a46-4d03-a516-a1293833cff3" providerId="ADAL" clId="{43AB949D-DD98-4E71-84BA-6A27556F6C91}" dt="2021-09-23T22:12:23.074" v="1297"/>
          <ac:cxnSpMkLst>
            <pc:docMk/>
            <pc:sldMk cId="981125185" sldId="2496"/>
            <ac:cxnSpMk id="93" creationId="{4C7660F4-2DEA-4055-B66C-FC0F70A757C0}"/>
          </ac:cxnSpMkLst>
        </pc:cxnChg>
        <pc:cxnChg chg="add mod">
          <ac:chgData name="Gao, Tianyun (SI BP AUT EA PROD)" userId="25b3c3cc-5a46-4d03-a516-a1293833cff3" providerId="ADAL" clId="{43AB949D-DD98-4E71-84BA-6A27556F6C91}" dt="2021-09-23T22:12:23.074" v="1297"/>
          <ac:cxnSpMkLst>
            <pc:docMk/>
            <pc:sldMk cId="981125185" sldId="2496"/>
            <ac:cxnSpMk id="98" creationId="{04F2575E-3FA9-4618-9282-D10A4F06365D}"/>
          </ac:cxnSpMkLst>
        </pc:cxnChg>
      </pc:sldChg>
      <pc:sldChg chg="addSp delSp modSp add mod">
        <pc:chgData name="Gao, Tianyun (SI BP AUT EA PROD)" userId="25b3c3cc-5a46-4d03-a516-a1293833cff3" providerId="ADAL" clId="{43AB949D-DD98-4E71-84BA-6A27556F6C91}" dt="2021-09-24T07:48:31.977" v="4923" actId="13926"/>
        <pc:sldMkLst>
          <pc:docMk/>
          <pc:sldMk cId="370757316" sldId="2497"/>
        </pc:sldMkLst>
        <pc:spChg chg="mod">
          <ac:chgData name="Gao, Tianyun (SI BP AUT EA PROD)" userId="25b3c3cc-5a46-4d03-a516-a1293833cff3" providerId="ADAL" clId="{43AB949D-DD98-4E71-84BA-6A27556F6C91}" dt="2021-09-23T23:00:13.461" v="3125" actId="20577"/>
          <ac:spMkLst>
            <pc:docMk/>
            <pc:sldMk cId="370757316" sldId="2497"/>
            <ac:spMk id="11" creationId="{78147749-85E7-4110-B55A-DB45D6D85C1A}"/>
          </ac:spMkLst>
        </pc:spChg>
        <pc:spChg chg="del">
          <ac:chgData name="Gao, Tianyun (SI BP AUT EA PROD)" userId="25b3c3cc-5a46-4d03-a516-a1293833cff3" providerId="ADAL" clId="{43AB949D-DD98-4E71-84BA-6A27556F6C91}" dt="2021-09-23T22:34:18.253" v="1466" actId="478"/>
          <ac:spMkLst>
            <pc:docMk/>
            <pc:sldMk cId="370757316" sldId="2497"/>
            <ac:spMk id="14" creationId="{B3E8F97C-ABB2-4A19-95F8-3B695F064573}"/>
          </ac:spMkLst>
        </pc:spChg>
        <pc:spChg chg="del">
          <ac:chgData name="Gao, Tianyun (SI BP AUT EA PROD)" userId="25b3c3cc-5a46-4d03-a516-a1293833cff3" providerId="ADAL" clId="{43AB949D-DD98-4E71-84BA-6A27556F6C91}" dt="2021-09-23T22:34:18.253" v="1466" actId="478"/>
          <ac:spMkLst>
            <pc:docMk/>
            <pc:sldMk cId="370757316" sldId="2497"/>
            <ac:spMk id="16" creationId="{28A57370-8F4B-48B5-836F-5074CC21C5E0}"/>
          </ac:spMkLst>
        </pc:spChg>
        <pc:spChg chg="del">
          <ac:chgData name="Gao, Tianyun (SI BP AUT EA PROD)" userId="25b3c3cc-5a46-4d03-a516-a1293833cff3" providerId="ADAL" clId="{43AB949D-DD98-4E71-84BA-6A27556F6C91}" dt="2021-09-23T22:34:18.253" v="1466" actId="478"/>
          <ac:spMkLst>
            <pc:docMk/>
            <pc:sldMk cId="370757316" sldId="2497"/>
            <ac:spMk id="19" creationId="{76D3B8E7-F217-4033-9244-A53A49FDAFDF}"/>
          </ac:spMkLst>
        </pc:spChg>
        <pc:spChg chg="del">
          <ac:chgData name="Gao, Tianyun (SI BP AUT EA PROD)" userId="25b3c3cc-5a46-4d03-a516-a1293833cff3" providerId="ADAL" clId="{43AB949D-DD98-4E71-84BA-6A27556F6C91}" dt="2021-09-23T22:34:18.253" v="1466" actId="478"/>
          <ac:spMkLst>
            <pc:docMk/>
            <pc:sldMk cId="370757316" sldId="2497"/>
            <ac:spMk id="20" creationId="{B93C5DE2-42CB-4D6F-9627-161EEB71AADA}"/>
          </ac:spMkLst>
        </pc:spChg>
        <pc:spChg chg="del">
          <ac:chgData name="Gao, Tianyun (SI BP AUT EA PROD)" userId="25b3c3cc-5a46-4d03-a516-a1293833cff3" providerId="ADAL" clId="{43AB949D-DD98-4E71-84BA-6A27556F6C91}" dt="2021-09-23T22:34:18.253" v="1466" actId="478"/>
          <ac:spMkLst>
            <pc:docMk/>
            <pc:sldMk cId="370757316" sldId="2497"/>
            <ac:spMk id="22" creationId="{C483AC38-7550-4385-B304-62C70297DA02}"/>
          </ac:spMkLst>
        </pc:spChg>
        <pc:spChg chg="del">
          <ac:chgData name="Gao, Tianyun (SI BP AUT EA PROD)" userId="25b3c3cc-5a46-4d03-a516-a1293833cff3" providerId="ADAL" clId="{43AB949D-DD98-4E71-84BA-6A27556F6C91}" dt="2021-09-23T22:34:18.253" v="1466" actId="478"/>
          <ac:spMkLst>
            <pc:docMk/>
            <pc:sldMk cId="370757316" sldId="2497"/>
            <ac:spMk id="25" creationId="{5DF5100C-F290-4C0F-A9B9-7C9FDC6060DF}"/>
          </ac:spMkLst>
        </pc:spChg>
        <pc:spChg chg="del">
          <ac:chgData name="Gao, Tianyun (SI BP AUT EA PROD)" userId="25b3c3cc-5a46-4d03-a516-a1293833cff3" providerId="ADAL" clId="{43AB949D-DD98-4E71-84BA-6A27556F6C91}" dt="2021-09-23T22:34:18.253" v="1466" actId="478"/>
          <ac:spMkLst>
            <pc:docMk/>
            <pc:sldMk cId="370757316" sldId="2497"/>
            <ac:spMk id="27" creationId="{A103A0C4-915D-4AA5-A448-C78A9AB0DEC9}"/>
          </ac:spMkLst>
        </pc:spChg>
        <pc:spChg chg="add mod">
          <ac:chgData name="Gao, Tianyun (SI BP AUT EA PROD)" userId="25b3c3cc-5a46-4d03-a516-a1293833cff3" providerId="ADAL" clId="{43AB949D-DD98-4E71-84BA-6A27556F6C91}" dt="2021-09-24T07:48:31.977" v="4923" actId="13926"/>
          <ac:spMkLst>
            <pc:docMk/>
            <pc:sldMk cId="370757316" sldId="2497"/>
            <ac:spMk id="28" creationId="{0E80F07F-4042-402D-AA78-ED4E6DDDE9C0}"/>
          </ac:spMkLst>
        </pc:spChg>
        <pc:spChg chg="del">
          <ac:chgData name="Gao, Tianyun (SI BP AUT EA PROD)" userId="25b3c3cc-5a46-4d03-a516-a1293833cff3" providerId="ADAL" clId="{43AB949D-DD98-4E71-84BA-6A27556F6C91}" dt="2021-09-23T22:34:18.253" v="1466" actId="478"/>
          <ac:spMkLst>
            <pc:docMk/>
            <pc:sldMk cId="370757316" sldId="2497"/>
            <ac:spMk id="29" creationId="{CA5ABBD5-FD62-48E4-947A-F7700038C9CD}"/>
          </ac:spMkLst>
        </pc:spChg>
        <pc:spChg chg="add del mod">
          <ac:chgData name="Gao, Tianyun (SI BP AUT EA PROD)" userId="25b3c3cc-5a46-4d03-a516-a1293833cff3" providerId="ADAL" clId="{43AB949D-DD98-4E71-84BA-6A27556F6C91}" dt="2021-09-24T07:16:04.020" v="4781" actId="478"/>
          <ac:spMkLst>
            <pc:docMk/>
            <pc:sldMk cId="370757316" sldId="2497"/>
            <ac:spMk id="30" creationId="{75730D4E-ED4E-484A-A539-5A8BADA4EA84}"/>
          </ac:spMkLst>
        </pc:spChg>
        <pc:spChg chg="del">
          <ac:chgData name="Gao, Tianyun (SI BP AUT EA PROD)" userId="25b3c3cc-5a46-4d03-a516-a1293833cff3" providerId="ADAL" clId="{43AB949D-DD98-4E71-84BA-6A27556F6C91}" dt="2021-09-23T22:34:18.253" v="1466" actId="478"/>
          <ac:spMkLst>
            <pc:docMk/>
            <pc:sldMk cId="370757316" sldId="2497"/>
            <ac:spMk id="31" creationId="{69426052-8C34-4070-A649-B01801B08EFA}"/>
          </ac:spMkLst>
        </pc:spChg>
        <pc:spChg chg="del">
          <ac:chgData name="Gao, Tianyun (SI BP AUT EA PROD)" userId="25b3c3cc-5a46-4d03-a516-a1293833cff3" providerId="ADAL" clId="{43AB949D-DD98-4E71-84BA-6A27556F6C91}" dt="2021-09-23T22:34:18.253" v="1466" actId="478"/>
          <ac:spMkLst>
            <pc:docMk/>
            <pc:sldMk cId="370757316" sldId="2497"/>
            <ac:spMk id="32" creationId="{53A682F4-D21B-49D7-9EBA-3A760FB03C33}"/>
          </ac:spMkLst>
        </pc:spChg>
        <pc:spChg chg="del">
          <ac:chgData name="Gao, Tianyun (SI BP AUT EA PROD)" userId="25b3c3cc-5a46-4d03-a516-a1293833cff3" providerId="ADAL" clId="{43AB949D-DD98-4E71-84BA-6A27556F6C91}" dt="2021-09-23T22:34:18.253" v="1466" actId="478"/>
          <ac:spMkLst>
            <pc:docMk/>
            <pc:sldMk cId="370757316" sldId="2497"/>
            <ac:spMk id="33" creationId="{875127C9-FCBA-48AB-9655-AA88E2B10637}"/>
          </ac:spMkLst>
        </pc:spChg>
        <pc:spChg chg="del">
          <ac:chgData name="Gao, Tianyun (SI BP AUT EA PROD)" userId="25b3c3cc-5a46-4d03-a516-a1293833cff3" providerId="ADAL" clId="{43AB949D-DD98-4E71-84BA-6A27556F6C91}" dt="2021-09-23T22:34:18.253" v="1466" actId="478"/>
          <ac:spMkLst>
            <pc:docMk/>
            <pc:sldMk cId="370757316" sldId="2497"/>
            <ac:spMk id="34" creationId="{C980011D-61EE-4F9D-966C-9E79F63971A0}"/>
          </ac:spMkLst>
        </pc:spChg>
        <pc:spChg chg="del">
          <ac:chgData name="Gao, Tianyun (SI BP AUT EA PROD)" userId="25b3c3cc-5a46-4d03-a516-a1293833cff3" providerId="ADAL" clId="{43AB949D-DD98-4E71-84BA-6A27556F6C91}" dt="2021-09-23T22:34:18.253" v="1466" actId="478"/>
          <ac:spMkLst>
            <pc:docMk/>
            <pc:sldMk cId="370757316" sldId="2497"/>
            <ac:spMk id="35" creationId="{AAFE5C34-B8AA-4E66-B456-300D645725DF}"/>
          </ac:spMkLst>
        </pc:spChg>
        <pc:spChg chg="del">
          <ac:chgData name="Gao, Tianyun (SI BP AUT EA PROD)" userId="25b3c3cc-5a46-4d03-a516-a1293833cff3" providerId="ADAL" clId="{43AB949D-DD98-4E71-84BA-6A27556F6C91}" dt="2021-09-23T22:34:18.253" v="1466" actId="478"/>
          <ac:spMkLst>
            <pc:docMk/>
            <pc:sldMk cId="370757316" sldId="2497"/>
            <ac:spMk id="36" creationId="{C972618A-32D5-4F0E-AF90-E3321311DC63}"/>
          </ac:spMkLst>
        </pc:spChg>
        <pc:spChg chg="del">
          <ac:chgData name="Gao, Tianyun (SI BP AUT EA PROD)" userId="25b3c3cc-5a46-4d03-a516-a1293833cff3" providerId="ADAL" clId="{43AB949D-DD98-4E71-84BA-6A27556F6C91}" dt="2021-09-23T22:34:18.253" v="1466" actId="478"/>
          <ac:spMkLst>
            <pc:docMk/>
            <pc:sldMk cId="370757316" sldId="2497"/>
            <ac:spMk id="37" creationId="{92FDA62D-6306-4AEC-8D33-7ACBB9D53739}"/>
          </ac:spMkLst>
        </pc:spChg>
        <pc:spChg chg="del">
          <ac:chgData name="Gao, Tianyun (SI BP AUT EA PROD)" userId="25b3c3cc-5a46-4d03-a516-a1293833cff3" providerId="ADAL" clId="{43AB949D-DD98-4E71-84BA-6A27556F6C91}" dt="2021-09-23T22:34:18.253" v="1466" actId="478"/>
          <ac:spMkLst>
            <pc:docMk/>
            <pc:sldMk cId="370757316" sldId="2497"/>
            <ac:spMk id="38" creationId="{D1CFCD05-E3E6-47ED-BA4C-FCE8ADD2CCF7}"/>
          </ac:spMkLst>
        </pc:spChg>
        <pc:spChg chg="del">
          <ac:chgData name="Gao, Tianyun (SI BP AUT EA PROD)" userId="25b3c3cc-5a46-4d03-a516-a1293833cff3" providerId="ADAL" clId="{43AB949D-DD98-4E71-84BA-6A27556F6C91}" dt="2021-09-23T22:34:18.253" v="1466" actId="478"/>
          <ac:spMkLst>
            <pc:docMk/>
            <pc:sldMk cId="370757316" sldId="2497"/>
            <ac:spMk id="39" creationId="{53E677A6-0172-4202-9F2E-38CAE5B50818}"/>
          </ac:spMkLst>
        </pc:spChg>
        <pc:spChg chg="add mod">
          <ac:chgData name="Gao, Tianyun (SI BP AUT EA PROD)" userId="25b3c3cc-5a46-4d03-a516-a1293833cff3" providerId="ADAL" clId="{43AB949D-DD98-4E71-84BA-6A27556F6C91}" dt="2021-09-24T07:16:17.191" v="4791" actId="1076"/>
          <ac:spMkLst>
            <pc:docMk/>
            <pc:sldMk cId="370757316" sldId="2497"/>
            <ac:spMk id="40" creationId="{3FEF759D-26B4-40E8-A123-BD6689257C52}"/>
          </ac:spMkLst>
        </pc:spChg>
        <pc:spChg chg="add mod">
          <ac:chgData name="Gao, Tianyun (SI BP AUT EA PROD)" userId="25b3c3cc-5a46-4d03-a516-a1293833cff3" providerId="ADAL" clId="{43AB949D-DD98-4E71-84BA-6A27556F6C91}" dt="2021-09-24T07:16:15.591" v="4790" actId="1076"/>
          <ac:spMkLst>
            <pc:docMk/>
            <pc:sldMk cId="370757316" sldId="2497"/>
            <ac:spMk id="41" creationId="{0CC0719C-31DF-4696-B647-8BA2C1A73E32}"/>
          </ac:spMkLst>
        </pc:spChg>
        <pc:picChg chg="del">
          <ac:chgData name="Gao, Tianyun (SI BP AUT EA PROD)" userId="25b3c3cc-5a46-4d03-a516-a1293833cff3" providerId="ADAL" clId="{43AB949D-DD98-4E71-84BA-6A27556F6C91}" dt="2021-09-23T22:34:18.253" v="1466" actId="478"/>
          <ac:picMkLst>
            <pc:docMk/>
            <pc:sldMk cId="370757316" sldId="2497"/>
            <ac:picMk id="3" creationId="{383A8F7F-EAB8-4605-9BDA-98FAADD6B10A}"/>
          </ac:picMkLst>
        </pc:picChg>
        <pc:picChg chg="add del mod">
          <ac:chgData name="Gao, Tianyun (SI BP AUT EA PROD)" userId="25b3c3cc-5a46-4d03-a516-a1293833cff3" providerId="ADAL" clId="{43AB949D-DD98-4E71-84BA-6A27556F6C91}" dt="2021-09-24T07:00:57.966" v="4679" actId="22"/>
          <ac:picMkLst>
            <pc:docMk/>
            <pc:sldMk cId="370757316" sldId="2497"/>
            <ac:picMk id="4" creationId="{3410EDE8-A5DC-479A-991F-F3D84587087B}"/>
          </ac:picMkLst>
        </pc:picChg>
        <pc:picChg chg="add mod">
          <ac:chgData name="Gao, Tianyun (SI BP AUT EA PROD)" userId="25b3c3cc-5a46-4d03-a516-a1293833cff3" providerId="ADAL" clId="{43AB949D-DD98-4E71-84BA-6A27556F6C91}" dt="2021-09-24T07:16:18.624" v="4792" actId="1076"/>
          <ac:picMkLst>
            <pc:docMk/>
            <pc:sldMk cId="370757316" sldId="2497"/>
            <ac:picMk id="6" creationId="{6112E28D-1D4F-4145-91CD-FF1949D1BA62}"/>
          </ac:picMkLst>
        </pc:picChg>
        <pc:picChg chg="del">
          <ac:chgData name="Gao, Tianyun (SI BP AUT EA PROD)" userId="25b3c3cc-5a46-4d03-a516-a1293833cff3" providerId="ADAL" clId="{43AB949D-DD98-4E71-84BA-6A27556F6C91}" dt="2021-09-23T22:34:18.253" v="1466" actId="478"/>
          <ac:picMkLst>
            <pc:docMk/>
            <pc:sldMk cId="370757316" sldId="2497"/>
            <ac:picMk id="7" creationId="{0E165EF4-E01E-40E7-A654-3855D292C061}"/>
          </ac:picMkLst>
        </pc:picChg>
        <pc:picChg chg="del">
          <ac:chgData name="Gao, Tianyun (SI BP AUT EA PROD)" userId="25b3c3cc-5a46-4d03-a516-a1293833cff3" providerId="ADAL" clId="{43AB949D-DD98-4E71-84BA-6A27556F6C91}" dt="2021-09-23T22:34:18.253" v="1466" actId="478"/>
          <ac:picMkLst>
            <pc:docMk/>
            <pc:sldMk cId="370757316" sldId="2497"/>
            <ac:picMk id="9" creationId="{8694EFA8-1225-42FA-9FCB-131E6C54F4EF}"/>
          </ac:picMkLst>
        </pc:picChg>
        <pc:picChg chg="del">
          <ac:chgData name="Gao, Tianyun (SI BP AUT EA PROD)" userId="25b3c3cc-5a46-4d03-a516-a1293833cff3" providerId="ADAL" clId="{43AB949D-DD98-4E71-84BA-6A27556F6C91}" dt="2021-09-23T22:34:18.253" v="1466" actId="478"/>
          <ac:picMkLst>
            <pc:docMk/>
            <pc:sldMk cId="370757316" sldId="2497"/>
            <ac:picMk id="24" creationId="{D987CD76-BEC3-4F7A-8FC4-54EB49CEE090}"/>
          </ac:picMkLst>
        </pc:picChg>
        <pc:picChg chg="del">
          <ac:chgData name="Gao, Tianyun (SI BP AUT EA PROD)" userId="25b3c3cc-5a46-4d03-a516-a1293833cff3" providerId="ADAL" clId="{43AB949D-DD98-4E71-84BA-6A27556F6C91}" dt="2021-09-23T22:34:18.253" v="1466" actId="478"/>
          <ac:picMkLst>
            <pc:docMk/>
            <pc:sldMk cId="370757316" sldId="2497"/>
            <ac:picMk id="26" creationId="{9CE835A3-480B-4436-AFB7-B4C2CA6A9E79}"/>
          </ac:picMkLst>
        </pc:picChg>
      </pc:sldChg>
      <pc:sldChg chg="modSp add mod">
        <pc:chgData name="Gao, Tianyun (SI BP AUT EA PROD)" userId="25b3c3cc-5a46-4d03-a516-a1293833cff3" providerId="ADAL" clId="{43AB949D-DD98-4E71-84BA-6A27556F6C91}" dt="2021-09-24T07:49:13.849" v="4927" actId="13926"/>
        <pc:sldMkLst>
          <pc:docMk/>
          <pc:sldMk cId="2151639941" sldId="2498"/>
        </pc:sldMkLst>
        <pc:spChg chg="add del mod">
          <ac:chgData name="Gao, Tianyun (SI BP AUT EA PROD)" userId="25b3c3cc-5a46-4d03-a516-a1293833cff3" providerId="ADAL" clId="{43AB949D-DD98-4E71-84BA-6A27556F6C91}" dt="2021-09-24T07:31:01.498" v="4797" actId="478"/>
          <ac:spMkLst>
            <pc:docMk/>
            <pc:sldMk cId="2151639941" sldId="2498"/>
            <ac:spMk id="18" creationId="{41691F2A-3892-4F52-8C1E-2938D9CF1876}"/>
          </ac:spMkLst>
        </pc:spChg>
        <pc:spChg chg="add mod">
          <ac:chgData name="Gao, Tianyun (SI BP AUT EA PROD)" userId="25b3c3cc-5a46-4d03-a516-a1293833cff3" providerId="ADAL" clId="{43AB949D-DD98-4E71-84BA-6A27556F6C91}" dt="2021-09-24T07:35:37.853" v="4872" actId="1076"/>
          <ac:spMkLst>
            <pc:docMk/>
            <pc:sldMk cId="2151639941" sldId="2498"/>
            <ac:spMk id="19" creationId="{B2D691B7-9053-4DC7-A1D4-5A0770FB2EE1}"/>
          </ac:spMkLst>
        </pc:spChg>
        <pc:spChg chg="del mod">
          <ac:chgData name="Gao, Tianyun (SI BP AUT EA PROD)" userId="25b3c3cc-5a46-4d03-a516-a1293833cff3" providerId="ADAL" clId="{43AB949D-DD98-4E71-84BA-6A27556F6C91}" dt="2021-09-24T06:17:10.311" v="4117" actId="478"/>
          <ac:spMkLst>
            <pc:docMk/>
            <pc:sldMk cId="2151639941" sldId="2498"/>
            <ac:spMk id="10242" creationId="{D2D5D753-FB0C-4193-92FF-63834A8FD4B9}"/>
          </ac:spMkLst>
        </pc:spChg>
        <pc:spChg chg="del mod">
          <ac:chgData name="Gao, Tianyun (SI BP AUT EA PROD)" userId="25b3c3cc-5a46-4d03-a516-a1293833cff3" providerId="ADAL" clId="{43AB949D-DD98-4E71-84BA-6A27556F6C91}" dt="2021-09-24T06:17:10.311" v="4117" actId="478"/>
          <ac:spMkLst>
            <pc:docMk/>
            <pc:sldMk cId="2151639941" sldId="2498"/>
            <ac:spMk id="10243" creationId="{DD602098-4261-4644-9C82-357850BF80D0}"/>
          </ac:spMkLst>
        </pc:spChg>
        <pc:spChg chg="del">
          <ac:chgData name="Gao, Tianyun (SI BP AUT EA PROD)" userId="25b3c3cc-5a46-4d03-a516-a1293833cff3" providerId="ADAL" clId="{43AB949D-DD98-4E71-84BA-6A27556F6C91}" dt="2021-09-24T06:17:10.311" v="4117" actId="478"/>
          <ac:spMkLst>
            <pc:docMk/>
            <pc:sldMk cId="2151639941" sldId="2498"/>
            <ac:spMk id="10244" creationId="{E9B1026E-85A8-47D9-BD8B-6CD82CC5FF29}"/>
          </ac:spMkLst>
        </pc:spChg>
        <pc:spChg chg="mod">
          <ac:chgData name="Gao, Tianyun (SI BP AUT EA PROD)" userId="25b3c3cc-5a46-4d03-a516-a1293833cff3" providerId="ADAL" clId="{43AB949D-DD98-4E71-84BA-6A27556F6C91}" dt="2021-09-24T07:49:13.849" v="4927" actId="13926"/>
          <ac:spMkLst>
            <pc:docMk/>
            <pc:sldMk cId="2151639941" sldId="2498"/>
            <ac:spMk id="10245" creationId="{C041B2AF-D381-4DCF-A40A-551EA5D8A8E1}"/>
          </ac:spMkLst>
        </pc:spChg>
        <pc:spChg chg="mod">
          <ac:chgData name="Gao, Tianyun (SI BP AUT EA PROD)" userId="25b3c3cc-5a46-4d03-a516-a1293833cff3" providerId="ADAL" clId="{43AB949D-DD98-4E71-84BA-6A27556F6C91}" dt="2021-09-23T23:28:41.950" v="3413" actId="1076"/>
          <ac:spMkLst>
            <pc:docMk/>
            <pc:sldMk cId="2151639941" sldId="2498"/>
            <ac:spMk id="10246" creationId="{38CCFC92-D659-4E71-99B7-DE8001D15732}"/>
          </ac:spMkLst>
        </pc:spChg>
        <pc:spChg chg="mod">
          <ac:chgData name="Gao, Tianyun (SI BP AUT EA PROD)" userId="25b3c3cc-5a46-4d03-a516-a1293833cff3" providerId="ADAL" clId="{43AB949D-DD98-4E71-84BA-6A27556F6C91}" dt="2021-09-23T23:29:08.336" v="3418" actId="1076"/>
          <ac:spMkLst>
            <pc:docMk/>
            <pc:sldMk cId="2151639941" sldId="2498"/>
            <ac:spMk id="10250" creationId="{148A7A2A-5A44-451F-9602-845BA280704F}"/>
          </ac:spMkLst>
        </pc:spChg>
        <pc:spChg chg="mod">
          <ac:chgData name="Gao, Tianyun (SI BP AUT EA PROD)" userId="25b3c3cc-5a46-4d03-a516-a1293833cff3" providerId="ADAL" clId="{43AB949D-DD98-4E71-84BA-6A27556F6C91}" dt="2021-09-24T07:35:12.619" v="4843" actId="13926"/>
          <ac:spMkLst>
            <pc:docMk/>
            <pc:sldMk cId="2151639941" sldId="2498"/>
            <ac:spMk id="10252" creationId="{38CA9E32-D0A4-4917-9365-0087DC47FF32}"/>
          </ac:spMkLst>
        </pc:spChg>
        <pc:spChg chg="mod">
          <ac:chgData name="Gao, Tianyun (SI BP AUT EA PROD)" userId="25b3c3cc-5a46-4d03-a516-a1293833cff3" providerId="ADAL" clId="{43AB949D-DD98-4E71-84BA-6A27556F6C91}" dt="2021-09-24T07:31:59.063" v="4812" actId="1076"/>
          <ac:spMkLst>
            <pc:docMk/>
            <pc:sldMk cId="2151639941" sldId="2498"/>
            <ac:spMk id="10254" creationId="{A6590DE2-64E5-4FB4-8485-E32362407264}"/>
          </ac:spMkLst>
        </pc:spChg>
        <pc:grpChg chg="mod">
          <ac:chgData name="Gao, Tianyun (SI BP AUT EA PROD)" userId="25b3c3cc-5a46-4d03-a516-a1293833cff3" providerId="ADAL" clId="{43AB949D-DD98-4E71-84BA-6A27556F6C91}" dt="2021-09-24T07:31:59.063" v="4812" actId="1076"/>
          <ac:grpSpMkLst>
            <pc:docMk/>
            <pc:sldMk cId="2151639941" sldId="2498"/>
            <ac:grpSpMk id="10248" creationId="{D379D268-A59A-4CA3-8B6B-B61E8C4E9373}"/>
          </ac:grpSpMkLst>
        </pc:grpChg>
        <pc:picChg chg="mod">
          <ac:chgData name="Gao, Tianyun (SI BP AUT EA PROD)" userId="25b3c3cc-5a46-4d03-a516-a1293833cff3" providerId="ADAL" clId="{43AB949D-DD98-4E71-84BA-6A27556F6C91}" dt="2021-09-24T07:31:39.596" v="4810" actId="1038"/>
          <ac:picMkLst>
            <pc:docMk/>
            <pc:sldMk cId="2151639941" sldId="2498"/>
            <ac:picMk id="10247" creationId="{9F66BCFE-A3DD-42B6-9A0F-53AD596FA877}"/>
          </ac:picMkLst>
        </pc:picChg>
        <pc:picChg chg="mod">
          <ac:chgData name="Gao, Tianyun (SI BP AUT EA PROD)" userId="25b3c3cc-5a46-4d03-a516-a1293833cff3" providerId="ADAL" clId="{43AB949D-DD98-4E71-84BA-6A27556F6C91}" dt="2021-09-24T07:31:59.063" v="4812" actId="1076"/>
          <ac:picMkLst>
            <pc:docMk/>
            <pc:sldMk cId="2151639941" sldId="2498"/>
            <ac:picMk id="10253" creationId="{E87ACAE2-60B8-45CC-9718-764F2E25C670}"/>
          </ac:picMkLst>
        </pc:picChg>
        <pc:cxnChg chg="del mod">
          <ac:chgData name="Gao, Tianyun (SI BP AUT EA PROD)" userId="25b3c3cc-5a46-4d03-a516-a1293833cff3" providerId="ADAL" clId="{43AB949D-DD98-4E71-84BA-6A27556F6C91}" dt="2021-09-24T07:31:07.728" v="4799" actId="478"/>
          <ac:cxnSpMkLst>
            <pc:docMk/>
            <pc:sldMk cId="2151639941" sldId="2498"/>
            <ac:cxnSpMk id="10249" creationId="{9DAAC534-D85D-4635-BC83-30699A256683}"/>
          </ac:cxnSpMkLst>
        </pc:cxnChg>
        <pc:cxnChg chg="del mod">
          <ac:chgData name="Gao, Tianyun (SI BP AUT EA PROD)" userId="25b3c3cc-5a46-4d03-a516-a1293833cff3" providerId="ADAL" clId="{43AB949D-DD98-4E71-84BA-6A27556F6C91}" dt="2021-09-24T07:31:09.750" v="4800" actId="478"/>
          <ac:cxnSpMkLst>
            <pc:docMk/>
            <pc:sldMk cId="2151639941" sldId="2498"/>
            <ac:cxnSpMk id="10251" creationId="{7B377130-4C60-4B6C-9FD0-C464CE894388}"/>
          </ac:cxnSpMkLst>
        </pc:cxnChg>
      </pc:sldChg>
      <pc:sldChg chg="modSp add mod">
        <pc:chgData name="Gao, Tianyun (SI BP AUT EA PROD)" userId="25b3c3cc-5a46-4d03-a516-a1293833cff3" providerId="ADAL" clId="{43AB949D-DD98-4E71-84BA-6A27556F6C91}" dt="2021-09-24T07:49:10.510" v="4926" actId="13926"/>
        <pc:sldMkLst>
          <pc:docMk/>
          <pc:sldMk cId="2069274787" sldId="2499"/>
        </pc:sldMkLst>
        <pc:spChg chg="add mod">
          <ac:chgData name="Gao, Tianyun (SI BP AUT EA PROD)" userId="25b3c3cc-5a46-4d03-a516-a1293833cff3" providerId="ADAL" clId="{43AB949D-DD98-4E71-84BA-6A27556F6C91}" dt="2021-09-24T07:35:48.516" v="4874" actId="1076"/>
          <ac:spMkLst>
            <pc:docMk/>
            <pc:sldMk cId="2069274787" sldId="2499"/>
            <ac:spMk id="11" creationId="{7FDBAB10-61B9-442B-B58E-59DAA7AA1273}"/>
          </ac:spMkLst>
        </pc:spChg>
        <pc:spChg chg="del">
          <ac:chgData name="Gao, Tianyun (SI BP AUT EA PROD)" userId="25b3c3cc-5a46-4d03-a516-a1293833cff3" providerId="ADAL" clId="{43AB949D-DD98-4E71-84BA-6A27556F6C91}" dt="2021-09-24T06:17:19.715" v="4118" actId="478"/>
          <ac:spMkLst>
            <pc:docMk/>
            <pc:sldMk cId="2069274787" sldId="2499"/>
            <ac:spMk id="12290" creationId="{42F7E866-0280-4DAA-9DA3-39B7C244FD5E}"/>
          </ac:spMkLst>
        </pc:spChg>
        <pc:spChg chg="del">
          <ac:chgData name="Gao, Tianyun (SI BP AUT EA PROD)" userId="25b3c3cc-5a46-4d03-a516-a1293833cff3" providerId="ADAL" clId="{43AB949D-DD98-4E71-84BA-6A27556F6C91}" dt="2021-09-24T06:17:19.715" v="4118" actId="478"/>
          <ac:spMkLst>
            <pc:docMk/>
            <pc:sldMk cId="2069274787" sldId="2499"/>
            <ac:spMk id="12291" creationId="{CF0C0893-02AA-435A-A1D0-DD694687DA51}"/>
          </ac:spMkLst>
        </pc:spChg>
        <pc:spChg chg="del">
          <ac:chgData name="Gao, Tianyun (SI BP AUT EA PROD)" userId="25b3c3cc-5a46-4d03-a516-a1293833cff3" providerId="ADAL" clId="{43AB949D-DD98-4E71-84BA-6A27556F6C91}" dt="2021-09-24T06:17:19.715" v="4118" actId="478"/>
          <ac:spMkLst>
            <pc:docMk/>
            <pc:sldMk cId="2069274787" sldId="2499"/>
            <ac:spMk id="12292" creationId="{5A7A53F2-65F3-4F5B-8623-E410B1AA9C7E}"/>
          </ac:spMkLst>
        </pc:spChg>
        <pc:spChg chg="mod">
          <ac:chgData name="Gao, Tianyun (SI BP AUT EA PROD)" userId="25b3c3cc-5a46-4d03-a516-a1293833cff3" providerId="ADAL" clId="{43AB949D-DD98-4E71-84BA-6A27556F6C91}" dt="2021-09-24T07:49:10.510" v="4926" actId="13926"/>
          <ac:spMkLst>
            <pc:docMk/>
            <pc:sldMk cId="2069274787" sldId="2499"/>
            <ac:spMk id="12293" creationId="{0835C702-CE57-48DD-9FC7-42B935BFC437}"/>
          </ac:spMkLst>
        </pc:spChg>
        <pc:spChg chg="mod">
          <ac:chgData name="Gao, Tianyun (SI BP AUT EA PROD)" userId="25b3c3cc-5a46-4d03-a516-a1293833cff3" providerId="ADAL" clId="{43AB949D-DD98-4E71-84BA-6A27556F6C91}" dt="2021-09-23T23:29:36.110" v="3422" actId="1076"/>
          <ac:spMkLst>
            <pc:docMk/>
            <pc:sldMk cId="2069274787" sldId="2499"/>
            <ac:spMk id="12294" creationId="{4C4DAB2B-BAA8-4675-8EFA-5B9D6168B6C4}"/>
          </ac:spMkLst>
        </pc:spChg>
        <pc:spChg chg="mod">
          <ac:chgData name="Gao, Tianyun (SI BP AUT EA PROD)" userId="25b3c3cc-5a46-4d03-a516-a1293833cff3" providerId="ADAL" clId="{43AB949D-DD98-4E71-84BA-6A27556F6C91}" dt="2021-09-23T23:29:44.833" v="3425" actId="6549"/>
          <ac:spMkLst>
            <pc:docMk/>
            <pc:sldMk cId="2069274787" sldId="2499"/>
            <ac:spMk id="12296" creationId="{77FCF938-7971-498E-A884-20F22170B152}"/>
          </ac:spMkLst>
        </pc:spChg>
        <pc:spChg chg="mod">
          <ac:chgData name="Gao, Tianyun (SI BP AUT EA PROD)" userId="25b3c3cc-5a46-4d03-a516-a1293833cff3" providerId="ADAL" clId="{43AB949D-DD98-4E71-84BA-6A27556F6C91}" dt="2021-09-23T23:30:14.130" v="3430" actId="1076"/>
          <ac:spMkLst>
            <pc:docMk/>
            <pc:sldMk cId="2069274787" sldId="2499"/>
            <ac:spMk id="12298" creationId="{E54C55FF-5B21-422A-AF33-03E61B40942D}"/>
          </ac:spMkLst>
        </pc:spChg>
        <pc:picChg chg="mod">
          <ac:chgData name="Gao, Tianyun (SI BP AUT EA PROD)" userId="25b3c3cc-5a46-4d03-a516-a1293833cff3" providerId="ADAL" clId="{43AB949D-DD98-4E71-84BA-6A27556F6C91}" dt="2021-09-23T23:30:07.689" v="3428" actId="1076"/>
          <ac:picMkLst>
            <pc:docMk/>
            <pc:sldMk cId="2069274787" sldId="2499"/>
            <ac:picMk id="12295" creationId="{0453E669-F448-425F-B1EB-40B2A89842F0}"/>
          </ac:picMkLst>
        </pc:picChg>
        <pc:picChg chg="mod">
          <ac:chgData name="Gao, Tianyun (SI BP AUT EA PROD)" userId="25b3c3cc-5a46-4d03-a516-a1293833cff3" providerId="ADAL" clId="{43AB949D-DD98-4E71-84BA-6A27556F6C91}" dt="2021-09-23T23:30:10.070" v="3429" actId="1076"/>
          <ac:picMkLst>
            <pc:docMk/>
            <pc:sldMk cId="2069274787" sldId="2499"/>
            <ac:picMk id="12297" creationId="{57AC8CF7-65B5-4167-B9A1-7B34DED83672}"/>
          </ac:picMkLst>
        </pc:picChg>
      </pc:sldChg>
      <pc:sldChg chg="delSp modSp add del modNotes">
        <pc:chgData name="Gao, Tianyun (SI BP AUT EA PROD)" userId="25b3c3cc-5a46-4d03-a516-a1293833cff3" providerId="ADAL" clId="{43AB949D-DD98-4E71-84BA-6A27556F6C91}" dt="2021-09-24T07:49:27.631" v="4928" actId="47"/>
        <pc:sldMkLst>
          <pc:docMk/>
          <pc:sldMk cId="0" sldId="2500"/>
        </pc:sldMkLst>
        <pc:spChg chg="del">
          <ac:chgData name="Gao, Tianyun (SI BP AUT EA PROD)" userId="25b3c3cc-5a46-4d03-a516-a1293833cff3" providerId="ADAL" clId="{43AB949D-DD98-4E71-84BA-6A27556F6C91}" dt="2021-09-24T06:17:24.672" v="4119" actId="478"/>
          <ac:spMkLst>
            <pc:docMk/>
            <pc:sldMk cId="0" sldId="2500"/>
            <ac:spMk id="16386" creationId="{A510A663-F0C2-43E5-A37E-6685F5CDD311}"/>
          </ac:spMkLst>
        </pc:spChg>
        <pc:spChg chg="del">
          <ac:chgData name="Gao, Tianyun (SI BP AUT EA PROD)" userId="25b3c3cc-5a46-4d03-a516-a1293833cff3" providerId="ADAL" clId="{43AB949D-DD98-4E71-84BA-6A27556F6C91}" dt="2021-09-24T06:17:24.672" v="4119" actId="478"/>
          <ac:spMkLst>
            <pc:docMk/>
            <pc:sldMk cId="0" sldId="2500"/>
            <ac:spMk id="16387" creationId="{2B262B6B-F108-4108-8FBC-02F4B2248689}"/>
          </ac:spMkLst>
        </pc:spChg>
        <pc:spChg chg="del">
          <ac:chgData name="Gao, Tianyun (SI BP AUT EA PROD)" userId="25b3c3cc-5a46-4d03-a516-a1293833cff3" providerId="ADAL" clId="{43AB949D-DD98-4E71-84BA-6A27556F6C91}" dt="2021-09-24T06:17:24.672" v="4119" actId="478"/>
          <ac:spMkLst>
            <pc:docMk/>
            <pc:sldMk cId="0" sldId="2500"/>
            <ac:spMk id="16388" creationId="{5FCC623E-31CB-41B0-BFED-005DC835E276}"/>
          </ac:spMkLst>
        </pc:spChg>
        <pc:spChg chg="mod">
          <ac:chgData name="Gao, Tianyun (SI BP AUT EA PROD)" userId="25b3c3cc-5a46-4d03-a516-a1293833cff3" providerId="ADAL" clId="{43AB949D-DD98-4E71-84BA-6A27556F6C91}" dt="2021-09-23T23:30:24.497" v="3431" actId="1076"/>
          <ac:spMkLst>
            <pc:docMk/>
            <pc:sldMk cId="0" sldId="2500"/>
            <ac:spMk id="16389" creationId="{3ACDC8C6-8A31-4D88-A508-D2657FD417F1}"/>
          </ac:spMkLst>
        </pc:spChg>
        <pc:spChg chg="mod">
          <ac:chgData name="Gao, Tianyun (SI BP AUT EA PROD)" userId="25b3c3cc-5a46-4d03-a516-a1293833cff3" providerId="ADAL" clId="{43AB949D-DD98-4E71-84BA-6A27556F6C91}" dt="2021-09-23T23:30:49.192" v="3441" actId="1076"/>
          <ac:spMkLst>
            <pc:docMk/>
            <pc:sldMk cId="0" sldId="2500"/>
            <ac:spMk id="16390" creationId="{C3EFB6F3-6EE9-490E-A7FA-B02982487A8E}"/>
          </ac:spMkLst>
        </pc:spChg>
        <pc:spChg chg="mod">
          <ac:chgData name="Gao, Tianyun (SI BP AUT EA PROD)" userId="25b3c3cc-5a46-4d03-a516-a1293833cff3" providerId="ADAL" clId="{43AB949D-DD98-4E71-84BA-6A27556F6C91}" dt="2021-09-23T23:30:40.396" v="3438" actId="1076"/>
          <ac:spMkLst>
            <pc:docMk/>
            <pc:sldMk cId="0" sldId="2500"/>
            <ac:spMk id="16391" creationId="{7E05B889-9216-4C1B-9D25-3C2571A4FDB8}"/>
          </ac:spMkLst>
        </pc:spChg>
        <pc:picChg chg="mod">
          <ac:chgData name="Gao, Tianyun (SI BP AUT EA PROD)" userId="25b3c3cc-5a46-4d03-a516-a1293833cff3" providerId="ADAL" clId="{43AB949D-DD98-4E71-84BA-6A27556F6C91}" dt="2021-09-23T23:30:43.185" v="3439" actId="1076"/>
          <ac:picMkLst>
            <pc:docMk/>
            <pc:sldMk cId="0" sldId="2500"/>
            <ac:picMk id="16392" creationId="{B4916FC4-1A4D-4706-9213-587C8634398D}"/>
          </ac:picMkLst>
        </pc:picChg>
        <pc:picChg chg="mod">
          <ac:chgData name="Gao, Tianyun (SI BP AUT EA PROD)" userId="25b3c3cc-5a46-4d03-a516-a1293833cff3" providerId="ADAL" clId="{43AB949D-DD98-4E71-84BA-6A27556F6C91}" dt="2021-09-23T23:30:38.488" v="3437" actId="1076"/>
          <ac:picMkLst>
            <pc:docMk/>
            <pc:sldMk cId="0" sldId="2500"/>
            <ac:picMk id="16393" creationId="{EF005479-F310-4B17-A6A6-F13E2014869D}"/>
          </ac:picMkLst>
        </pc:picChg>
      </pc:sldChg>
      <pc:sldChg chg="modSp add mod">
        <pc:chgData name="Gao, Tianyun (SI BP AUT EA PROD)" userId="25b3c3cc-5a46-4d03-a516-a1293833cff3" providerId="ADAL" clId="{43AB949D-DD98-4E71-84BA-6A27556F6C91}" dt="2021-09-23T23:44:31.233" v="4094" actId="20577"/>
        <pc:sldMkLst>
          <pc:docMk/>
          <pc:sldMk cId="2405968689" sldId="2501"/>
        </pc:sldMkLst>
        <pc:spChg chg="mod">
          <ac:chgData name="Gao, Tianyun (SI BP AUT EA PROD)" userId="25b3c3cc-5a46-4d03-a516-a1293833cff3" providerId="ADAL" clId="{43AB949D-DD98-4E71-84BA-6A27556F6C91}" dt="2021-09-23T23:34:45.460" v="3480" actId="20577"/>
          <ac:spMkLst>
            <pc:docMk/>
            <pc:sldMk cId="2405968689" sldId="2501"/>
            <ac:spMk id="14" creationId="{F9267173-6A02-41CD-B830-C2A2B4C20811}"/>
          </ac:spMkLst>
        </pc:spChg>
        <pc:spChg chg="mod">
          <ac:chgData name="Gao, Tianyun (SI BP AUT EA PROD)" userId="25b3c3cc-5a46-4d03-a516-a1293833cff3" providerId="ADAL" clId="{43AB949D-DD98-4E71-84BA-6A27556F6C91}" dt="2021-09-23T23:44:31.233" v="4094" actId="20577"/>
          <ac:spMkLst>
            <pc:docMk/>
            <pc:sldMk cId="2405968689" sldId="2501"/>
            <ac:spMk id="20" creationId="{2A27FA31-F982-4A71-8CAF-D323DC85DE85}"/>
          </ac:spMkLst>
        </pc:spChg>
      </pc:sldChg>
      <pc:sldChg chg="modSp add del mod">
        <pc:chgData name="Gao, Tianyun (SI BP AUT EA PROD)" userId="25b3c3cc-5a46-4d03-a516-a1293833cff3" providerId="ADAL" clId="{43AB949D-DD98-4E71-84BA-6A27556F6C91}" dt="2021-09-28T13:37:55.292" v="5376" actId="47"/>
        <pc:sldMkLst>
          <pc:docMk/>
          <pc:sldMk cId="259597788" sldId="2502"/>
        </pc:sldMkLst>
        <pc:spChg chg="mod">
          <ac:chgData name="Gao, Tianyun (SI BP AUT EA PROD)" userId="25b3c3cc-5a46-4d03-a516-a1293833cff3" providerId="ADAL" clId="{43AB949D-DD98-4E71-84BA-6A27556F6C91}" dt="2021-09-24T06:21:24.837" v="4157" actId="20577"/>
          <ac:spMkLst>
            <pc:docMk/>
            <pc:sldMk cId="259597788" sldId="2502"/>
            <ac:spMk id="14" creationId="{F9267173-6A02-41CD-B830-C2A2B4C20811}"/>
          </ac:spMkLst>
        </pc:spChg>
        <pc:spChg chg="mod">
          <ac:chgData name="Gao, Tianyun (SI BP AUT EA PROD)" userId="25b3c3cc-5a46-4d03-a516-a1293833cff3" providerId="ADAL" clId="{43AB949D-DD98-4E71-84BA-6A27556F6C91}" dt="2021-09-27T14:43:03.692" v="5002" actId="6549"/>
          <ac:spMkLst>
            <pc:docMk/>
            <pc:sldMk cId="259597788" sldId="2502"/>
            <ac:spMk id="20" creationId="{2A27FA31-F982-4A71-8CAF-D323DC85DE85}"/>
          </ac:spMkLst>
        </pc:spChg>
      </pc:sldChg>
      <pc:sldChg chg="addSp delSp modSp mod">
        <pc:chgData name="Gao, Tianyun (SI BP AUT EA PROD)" userId="25b3c3cc-5a46-4d03-a516-a1293833cff3" providerId="ADAL" clId="{43AB949D-DD98-4E71-84BA-6A27556F6C91}" dt="2021-10-06T10:42:51.468" v="5462" actId="20577"/>
        <pc:sldMkLst>
          <pc:docMk/>
          <pc:sldMk cId="1326469617" sldId="2502"/>
        </pc:sldMkLst>
        <pc:spChg chg="del">
          <ac:chgData name="Gao, Tianyun (SI BP AUT EA PROD)" userId="25b3c3cc-5a46-4d03-a516-a1293833cff3" providerId="ADAL" clId="{43AB949D-DD98-4E71-84BA-6A27556F6C91}" dt="2021-10-06T10:39:57.577" v="5383" actId="478"/>
          <ac:spMkLst>
            <pc:docMk/>
            <pc:sldMk cId="1326469617" sldId="2502"/>
            <ac:spMk id="3" creationId="{2B0B5429-3AC0-4719-BEC1-66DA3F8D06F8}"/>
          </ac:spMkLst>
        </pc:spChg>
        <pc:spChg chg="add del">
          <ac:chgData name="Gao, Tianyun (SI BP AUT EA PROD)" userId="25b3c3cc-5a46-4d03-a516-a1293833cff3" providerId="ADAL" clId="{43AB949D-DD98-4E71-84BA-6A27556F6C91}" dt="2021-10-06T10:41:57.915" v="5426" actId="478"/>
          <ac:spMkLst>
            <pc:docMk/>
            <pc:sldMk cId="1326469617" sldId="2502"/>
            <ac:spMk id="17" creationId="{0DBA7403-27C6-4A0C-AEDC-0585BE97B632}"/>
          </ac:spMkLst>
        </pc:spChg>
        <pc:spChg chg="add del">
          <ac:chgData name="Gao, Tianyun (SI BP AUT EA PROD)" userId="25b3c3cc-5a46-4d03-a516-a1293833cff3" providerId="ADAL" clId="{43AB949D-DD98-4E71-84BA-6A27556F6C91}" dt="2021-10-06T10:41:57.169" v="5424" actId="478"/>
          <ac:spMkLst>
            <pc:docMk/>
            <pc:sldMk cId="1326469617" sldId="2502"/>
            <ac:spMk id="18" creationId="{40997B31-84D6-40DD-8F5F-D95DA047F15A}"/>
          </ac:spMkLst>
        </pc:spChg>
        <pc:spChg chg="add mod">
          <ac:chgData name="Gao, Tianyun (SI BP AUT EA PROD)" userId="25b3c3cc-5a46-4d03-a516-a1293833cff3" providerId="ADAL" clId="{43AB949D-DD98-4E71-84BA-6A27556F6C91}" dt="2021-10-06T10:42:44.314" v="5451" actId="1076"/>
          <ac:spMkLst>
            <pc:docMk/>
            <pc:sldMk cId="1326469617" sldId="2502"/>
            <ac:spMk id="19" creationId="{A445511D-AB73-4FF7-A3B6-93F7C8247A9A}"/>
          </ac:spMkLst>
        </pc:spChg>
        <pc:spChg chg="add mod">
          <ac:chgData name="Gao, Tianyun (SI BP AUT EA PROD)" userId="25b3c3cc-5a46-4d03-a516-a1293833cff3" providerId="ADAL" clId="{43AB949D-DD98-4E71-84BA-6A27556F6C91}" dt="2021-10-06T10:42:51.468" v="5462" actId="20577"/>
          <ac:spMkLst>
            <pc:docMk/>
            <pc:sldMk cId="1326469617" sldId="2502"/>
            <ac:spMk id="20" creationId="{E42C6CA5-5E2A-4F98-9E61-D7B395A177D0}"/>
          </ac:spMkLst>
        </pc:spChg>
        <pc:picChg chg="mod">
          <ac:chgData name="Gao, Tianyun (SI BP AUT EA PROD)" userId="25b3c3cc-5a46-4d03-a516-a1293833cff3" providerId="ADAL" clId="{43AB949D-DD98-4E71-84BA-6A27556F6C91}" dt="2021-10-06T10:41:55.504" v="5419" actId="1076"/>
          <ac:picMkLst>
            <pc:docMk/>
            <pc:sldMk cId="1326469617" sldId="2502"/>
            <ac:picMk id="4" creationId="{94CDB759-4FBE-43AE-85ED-1C52F9E220A9}"/>
          </ac:picMkLst>
        </pc:picChg>
        <pc:picChg chg="add mod ord">
          <ac:chgData name="Gao, Tianyun (SI BP AUT EA PROD)" userId="25b3c3cc-5a46-4d03-a516-a1293833cff3" providerId="ADAL" clId="{43AB949D-DD98-4E71-84BA-6A27556F6C91}" dt="2021-10-06T10:42:24.663" v="5433" actId="1076"/>
          <ac:picMkLst>
            <pc:docMk/>
            <pc:sldMk cId="1326469617" sldId="2502"/>
            <ac:picMk id="5" creationId="{B887B4AC-3A40-4E26-88F0-390EF985D601}"/>
          </ac:picMkLst>
        </pc:picChg>
        <pc:picChg chg="mod ord">
          <ac:chgData name="Gao, Tianyun (SI BP AUT EA PROD)" userId="25b3c3cc-5a46-4d03-a516-a1293833cff3" providerId="ADAL" clId="{43AB949D-DD98-4E71-84BA-6A27556F6C91}" dt="2021-10-06T10:41:57.539" v="5425" actId="1076"/>
          <ac:picMkLst>
            <pc:docMk/>
            <pc:sldMk cId="1326469617" sldId="2502"/>
            <ac:picMk id="6" creationId="{B8286DC2-B548-43AA-B845-561FAFAC8082}"/>
          </ac:picMkLst>
        </pc:picChg>
        <pc:picChg chg="del">
          <ac:chgData name="Gao, Tianyun (SI BP AUT EA PROD)" userId="25b3c3cc-5a46-4d03-a516-a1293833cff3" providerId="ADAL" clId="{43AB949D-DD98-4E71-84BA-6A27556F6C91}" dt="2021-10-06T10:39:55.785" v="5382" actId="478"/>
          <ac:picMkLst>
            <pc:docMk/>
            <pc:sldMk cId="1326469617" sldId="2502"/>
            <ac:picMk id="8" creationId="{FB49928F-85AF-4E5A-AA82-8E68B9BE09E6}"/>
          </ac:picMkLst>
        </pc:picChg>
        <pc:picChg chg="add mod">
          <ac:chgData name="Gao, Tianyun (SI BP AUT EA PROD)" userId="25b3c3cc-5a46-4d03-a516-a1293833cff3" providerId="ADAL" clId="{43AB949D-DD98-4E71-84BA-6A27556F6C91}" dt="2021-10-06T10:42:11.554" v="5430" actId="14100"/>
          <ac:picMkLst>
            <pc:docMk/>
            <pc:sldMk cId="1326469617" sldId="2502"/>
            <ac:picMk id="16" creationId="{A21E555C-C33B-4442-BDB4-834145AB956A}"/>
          </ac:picMkLst>
        </pc:picChg>
      </pc:sldChg>
      <pc:sldChg chg="addSp delSp modSp add del mod">
        <pc:chgData name="Gao, Tianyun (SI BP AUT EA PROD)" userId="25b3c3cc-5a46-4d03-a516-a1293833cff3" providerId="ADAL" clId="{43AB949D-DD98-4E71-84BA-6A27556F6C91}" dt="2021-09-27T15:11:59.051" v="5186" actId="47"/>
        <pc:sldMkLst>
          <pc:docMk/>
          <pc:sldMk cId="2353195262" sldId="2503"/>
        </pc:sldMkLst>
        <pc:spChg chg="del">
          <ac:chgData name="Gao, Tianyun (SI BP AUT EA PROD)" userId="25b3c3cc-5a46-4d03-a516-a1293833cff3" providerId="ADAL" clId="{43AB949D-DD98-4E71-84BA-6A27556F6C91}" dt="2021-09-24T06:48:34.891" v="4443" actId="478"/>
          <ac:spMkLst>
            <pc:docMk/>
            <pc:sldMk cId="2353195262" sldId="2503"/>
            <ac:spMk id="14" creationId="{B3E8F97C-ABB2-4A19-95F8-3B695F064573}"/>
          </ac:spMkLst>
        </pc:spChg>
        <pc:spChg chg="del">
          <ac:chgData name="Gao, Tianyun (SI BP AUT EA PROD)" userId="25b3c3cc-5a46-4d03-a516-a1293833cff3" providerId="ADAL" clId="{43AB949D-DD98-4E71-84BA-6A27556F6C91}" dt="2021-09-24T06:48:34.891" v="4443" actId="478"/>
          <ac:spMkLst>
            <pc:docMk/>
            <pc:sldMk cId="2353195262" sldId="2503"/>
            <ac:spMk id="16" creationId="{28A57370-8F4B-48B5-836F-5074CC21C5E0}"/>
          </ac:spMkLst>
        </pc:spChg>
        <pc:spChg chg="mod">
          <ac:chgData name="Gao, Tianyun (SI BP AUT EA PROD)" userId="25b3c3cc-5a46-4d03-a516-a1293833cff3" providerId="ADAL" clId="{43AB949D-DD98-4E71-84BA-6A27556F6C91}" dt="2021-09-24T06:48:39.933" v="4444" actId="1076"/>
          <ac:spMkLst>
            <pc:docMk/>
            <pc:sldMk cId="2353195262" sldId="2503"/>
            <ac:spMk id="19" creationId="{76D3B8E7-F217-4033-9244-A53A49FDAFDF}"/>
          </ac:spMkLst>
        </pc:spChg>
        <pc:spChg chg="mod">
          <ac:chgData name="Gao, Tianyun (SI BP AUT EA PROD)" userId="25b3c3cc-5a46-4d03-a516-a1293833cff3" providerId="ADAL" clId="{43AB949D-DD98-4E71-84BA-6A27556F6C91}" dt="2021-09-24T06:48:39.933" v="4444" actId="1076"/>
          <ac:spMkLst>
            <pc:docMk/>
            <pc:sldMk cId="2353195262" sldId="2503"/>
            <ac:spMk id="20" creationId="{B93C5DE2-42CB-4D6F-9627-161EEB71AADA}"/>
          </ac:spMkLst>
        </pc:spChg>
        <pc:spChg chg="del">
          <ac:chgData name="Gao, Tianyun (SI BP AUT EA PROD)" userId="25b3c3cc-5a46-4d03-a516-a1293833cff3" providerId="ADAL" clId="{43AB949D-DD98-4E71-84BA-6A27556F6C91}" dt="2021-09-24T06:48:34.891" v="4443" actId="478"/>
          <ac:spMkLst>
            <pc:docMk/>
            <pc:sldMk cId="2353195262" sldId="2503"/>
            <ac:spMk id="22" creationId="{C483AC38-7550-4385-B304-62C70297DA02}"/>
          </ac:spMkLst>
        </pc:spChg>
        <pc:spChg chg="del">
          <ac:chgData name="Gao, Tianyun (SI BP AUT EA PROD)" userId="25b3c3cc-5a46-4d03-a516-a1293833cff3" providerId="ADAL" clId="{43AB949D-DD98-4E71-84BA-6A27556F6C91}" dt="2021-09-24T06:48:34.891" v="4443" actId="478"/>
          <ac:spMkLst>
            <pc:docMk/>
            <pc:sldMk cId="2353195262" sldId="2503"/>
            <ac:spMk id="25" creationId="{5DF5100C-F290-4C0F-A9B9-7C9FDC6060DF}"/>
          </ac:spMkLst>
        </pc:spChg>
        <pc:spChg chg="del">
          <ac:chgData name="Gao, Tianyun (SI BP AUT EA PROD)" userId="25b3c3cc-5a46-4d03-a516-a1293833cff3" providerId="ADAL" clId="{43AB949D-DD98-4E71-84BA-6A27556F6C91}" dt="2021-09-24T06:48:34.891" v="4443" actId="478"/>
          <ac:spMkLst>
            <pc:docMk/>
            <pc:sldMk cId="2353195262" sldId="2503"/>
            <ac:spMk id="27" creationId="{A103A0C4-915D-4AA5-A448-C78A9AB0DEC9}"/>
          </ac:spMkLst>
        </pc:spChg>
        <pc:spChg chg="del">
          <ac:chgData name="Gao, Tianyun (SI BP AUT EA PROD)" userId="25b3c3cc-5a46-4d03-a516-a1293833cff3" providerId="ADAL" clId="{43AB949D-DD98-4E71-84BA-6A27556F6C91}" dt="2021-09-24T06:48:34.891" v="4443" actId="478"/>
          <ac:spMkLst>
            <pc:docMk/>
            <pc:sldMk cId="2353195262" sldId="2503"/>
            <ac:spMk id="29" creationId="{CA5ABBD5-FD62-48E4-947A-F7700038C9CD}"/>
          </ac:spMkLst>
        </pc:spChg>
        <pc:spChg chg="add mod">
          <ac:chgData name="Gao, Tianyun (SI BP AUT EA PROD)" userId="25b3c3cc-5a46-4d03-a516-a1293833cff3" providerId="ADAL" clId="{43AB949D-DD98-4E71-84BA-6A27556F6C91}" dt="2021-09-24T06:52:15.719" v="4535" actId="20577"/>
          <ac:spMkLst>
            <pc:docMk/>
            <pc:sldMk cId="2353195262" sldId="2503"/>
            <ac:spMk id="30" creationId="{C4A501A7-CED9-42C1-8381-19EE73C63B12}"/>
          </ac:spMkLst>
        </pc:spChg>
        <pc:spChg chg="del">
          <ac:chgData name="Gao, Tianyun (SI BP AUT EA PROD)" userId="25b3c3cc-5a46-4d03-a516-a1293833cff3" providerId="ADAL" clId="{43AB949D-DD98-4E71-84BA-6A27556F6C91}" dt="2021-09-24T06:48:34.891" v="4443" actId="478"/>
          <ac:spMkLst>
            <pc:docMk/>
            <pc:sldMk cId="2353195262" sldId="2503"/>
            <ac:spMk id="31" creationId="{69426052-8C34-4070-A649-B01801B08EFA}"/>
          </ac:spMkLst>
        </pc:spChg>
        <pc:spChg chg="del">
          <ac:chgData name="Gao, Tianyun (SI BP AUT EA PROD)" userId="25b3c3cc-5a46-4d03-a516-a1293833cff3" providerId="ADAL" clId="{43AB949D-DD98-4E71-84BA-6A27556F6C91}" dt="2021-09-24T06:48:34.891" v="4443" actId="478"/>
          <ac:spMkLst>
            <pc:docMk/>
            <pc:sldMk cId="2353195262" sldId="2503"/>
            <ac:spMk id="32" creationId="{53A682F4-D21B-49D7-9EBA-3A760FB03C33}"/>
          </ac:spMkLst>
        </pc:spChg>
        <pc:spChg chg="del">
          <ac:chgData name="Gao, Tianyun (SI BP AUT EA PROD)" userId="25b3c3cc-5a46-4d03-a516-a1293833cff3" providerId="ADAL" clId="{43AB949D-DD98-4E71-84BA-6A27556F6C91}" dt="2021-09-24T06:48:34.891" v="4443" actId="478"/>
          <ac:spMkLst>
            <pc:docMk/>
            <pc:sldMk cId="2353195262" sldId="2503"/>
            <ac:spMk id="33" creationId="{875127C9-FCBA-48AB-9655-AA88E2B10637}"/>
          </ac:spMkLst>
        </pc:spChg>
        <pc:spChg chg="del">
          <ac:chgData name="Gao, Tianyun (SI BP AUT EA PROD)" userId="25b3c3cc-5a46-4d03-a516-a1293833cff3" providerId="ADAL" clId="{43AB949D-DD98-4E71-84BA-6A27556F6C91}" dt="2021-09-24T06:48:34.891" v="4443" actId="478"/>
          <ac:spMkLst>
            <pc:docMk/>
            <pc:sldMk cId="2353195262" sldId="2503"/>
            <ac:spMk id="34" creationId="{C980011D-61EE-4F9D-966C-9E79F63971A0}"/>
          </ac:spMkLst>
        </pc:spChg>
        <pc:spChg chg="del">
          <ac:chgData name="Gao, Tianyun (SI BP AUT EA PROD)" userId="25b3c3cc-5a46-4d03-a516-a1293833cff3" providerId="ADAL" clId="{43AB949D-DD98-4E71-84BA-6A27556F6C91}" dt="2021-09-24T06:48:34.891" v="4443" actId="478"/>
          <ac:spMkLst>
            <pc:docMk/>
            <pc:sldMk cId="2353195262" sldId="2503"/>
            <ac:spMk id="35" creationId="{AAFE5C34-B8AA-4E66-B456-300D645725DF}"/>
          </ac:spMkLst>
        </pc:spChg>
        <pc:spChg chg="del">
          <ac:chgData name="Gao, Tianyun (SI BP AUT EA PROD)" userId="25b3c3cc-5a46-4d03-a516-a1293833cff3" providerId="ADAL" clId="{43AB949D-DD98-4E71-84BA-6A27556F6C91}" dt="2021-09-24T06:48:34.891" v="4443" actId="478"/>
          <ac:spMkLst>
            <pc:docMk/>
            <pc:sldMk cId="2353195262" sldId="2503"/>
            <ac:spMk id="36" creationId="{C972618A-32D5-4F0E-AF90-E3321311DC63}"/>
          </ac:spMkLst>
        </pc:spChg>
        <pc:spChg chg="del mod">
          <ac:chgData name="Gao, Tianyun (SI BP AUT EA PROD)" userId="25b3c3cc-5a46-4d03-a516-a1293833cff3" providerId="ADAL" clId="{43AB949D-DD98-4E71-84BA-6A27556F6C91}" dt="2021-09-24T06:49:33.010" v="4479" actId="478"/>
          <ac:spMkLst>
            <pc:docMk/>
            <pc:sldMk cId="2353195262" sldId="2503"/>
            <ac:spMk id="37" creationId="{92FDA62D-6306-4AEC-8D33-7ACBB9D53739}"/>
          </ac:spMkLst>
        </pc:spChg>
        <pc:spChg chg="del mod">
          <ac:chgData name="Gao, Tianyun (SI BP AUT EA PROD)" userId="25b3c3cc-5a46-4d03-a516-a1293833cff3" providerId="ADAL" clId="{43AB949D-DD98-4E71-84BA-6A27556F6C91}" dt="2021-09-24T06:49:30.803" v="4478" actId="478"/>
          <ac:spMkLst>
            <pc:docMk/>
            <pc:sldMk cId="2353195262" sldId="2503"/>
            <ac:spMk id="38" creationId="{D1CFCD05-E3E6-47ED-BA4C-FCE8ADD2CCF7}"/>
          </ac:spMkLst>
        </pc:spChg>
        <pc:spChg chg="del mod">
          <ac:chgData name="Gao, Tianyun (SI BP AUT EA PROD)" userId="25b3c3cc-5a46-4d03-a516-a1293833cff3" providerId="ADAL" clId="{43AB949D-DD98-4E71-84BA-6A27556F6C91}" dt="2021-09-24T06:49:28.180" v="4477" actId="478"/>
          <ac:spMkLst>
            <pc:docMk/>
            <pc:sldMk cId="2353195262" sldId="2503"/>
            <ac:spMk id="39" creationId="{53E677A6-0172-4202-9F2E-38CAE5B50818}"/>
          </ac:spMkLst>
        </pc:spChg>
        <pc:picChg chg="del">
          <ac:chgData name="Gao, Tianyun (SI BP AUT EA PROD)" userId="25b3c3cc-5a46-4d03-a516-a1293833cff3" providerId="ADAL" clId="{43AB949D-DD98-4E71-84BA-6A27556F6C91}" dt="2021-09-24T06:48:34.891" v="4443" actId="478"/>
          <ac:picMkLst>
            <pc:docMk/>
            <pc:sldMk cId="2353195262" sldId="2503"/>
            <ac:picMk id="3" creationId="{383A8F7F-EAB8-4605-9BDA-98FAADD6B10A}"/>
          </ac:picMkLst>
        </pc:picChg>
        <pc:picChg chg="add mod">
          <ac:chgData name="Gao, Tianyun (SI BP AUT EA PROD)" userId="25b3c3cc-5a46-4d03-a516-a1293833cff3" providerId="ADAL" clId="{43AB949D-DD98-4E71-84BA-6A27556F6C91}" dt="2021-09-24T06:49:10.836" v="4447" actId="1076"/>
          <ac:picMkLst>
            <pc:docMk/>
            <pc:sldMk cId="2353195262" sldId="2503"/>
            <ac:picMk id="4" creationId="{90E67FD0-3539-423D-B19C-7C97F78527A4}"/>
          </ac:picMkLst>
        </pc:picChg>
        <pc:picChg chg="del">
          <ac:chgData name="Gao, Tianyun (SI BP AUT EA PROD)" userId="25b3c3cc-5a46-4d03-a516-a1293833cff3" providerId="ADAL" clId="{43AB949D-DD98-4E71-84BA-6A27556F6C91}" dt="2021-09-24T06:48:34.891" v="4443" actId="478"/>
          <ac:picMkLst>
            <pc:docMk/>
            <pc:sldMk cId="2353195262" sldId="2503"/>
            <ac:picMk id="7" creationId="{0E165EF4-E01E-40E7-A654-3855D292C061}"/>
          </ac:picMkLst>
        </pc:picChg>
        <pc:picChg chg="mod">
          <ac:chgData name="Gao, Tianyun (SI BP AUT EA PROD)" userId="25b3c3cc-5a46-4d03-a516-a1293833cff3" providerId="ADAL" clId="{43AB949D-DD98-4E71-84BA-6A27556F6C91}" dt="2021-09-24T06:48:39.933" v="4444" actId="1076"/>
          <ac:picMkLst>
            <pc:docMk/>
            <pc:sldMk cId="2353195262" sldId="2503"/>
            <ac:picMk id="9" creationId="{8694EFA8-1225-42FA-9FCB-131E6C54F4EF}"/>
          </ac:picMkLst>
        </pc:picChg>
        <pc:picChg chg="del">
          <ac:chgData name="Gao, Tianyun (SI BP AUT EA PROD)" userId="25b3c3cc-5a46-4d03-a516-a1293833cff3" providerId="ADAL" clId="{43AB949D-DD98-4E71-84BA-6A27556F6C91}" dt="2021-09-24T06:48:34.891" v="4443" actId="478"/>
          <ac:picMkLst>
            <pc:docMk/>
            <pc:sldMk cId="2353195262" sldId="2503"/>
            <ac:picMk id="24" creationId="{D987CD76-BEC3-4F7A-8FC4-54EB49CEE090}"/>
          </ac:picMkLst>
        </pc:picChg>
        <pc:picChg chg="del">
          <ac:chgData name="Gao, Tianyun (SI BP AUT EA PROD)" userId="25b3c3cc-5a46-4d03-a516-a1293833cff3" providerId="ADAL" clId="{43AB949D-DD98-4E71-84BA-6A27556F6C91}" dt="2021-09-24T06:48:34.891" v="4443" actId="478"/>
          <ac:picMkLst>
            <pc:docMk/>
            <pc:sldMk cId="2353195262" sldId="2503"/>
            <ac:picMk id="26" creationId="{9CE835A3-480B-4436-AFB7-B4C2CA6A9E79}"/>
          </ac:picMkLst>
        </pc:picChg>
      </pc:sldChg>
    </pc:docChg>
  </pc:docChgLst>
  <pc:docChgLst>
    <pc:chgData name="Müller, Kurt (SI BP S TSS TR)" userId="e7e82c7e-80c6-42a5-ab71-24588885b7fe" providerId="ADAL" clId="{9A68D976-6B27-41CF-A773-96FB881042A0}"/>
    <pc:docChg chg="modSld">
      <pc:chgData name="Müller, Kurt (SI BP S TSS TR)" userId="e7e82c7e-80c6-42a5-ab71-24588885b7fe" providerId="ADAL" clId="{9A68D976-6B27-41CF-A773-96FB881042A0}" dt="2021-05-20T13:17:04.449" v="21" actId="1076"/>
      <pc:docMkLst>
        <pc:docMk/>
      </pc:docMkLst>
      <pc:sldChg chg="addSp modSp mod">
        <pc:chgData name="Müller, Kurt (SI BP S TSS TR)" userId="e7e82c7e-80c6-42a5-ab71-24588885b7fe" providerId="ADAL" clId="{9A68D976-6B27-41CF-A773-96FB881042A0}" dt="2021-05-20T13:17:04.449" v="21" actId="1076"/>
        <pc:sldMkLst>
          <pc:docMk/>
          <pc:sldMk cId="438231851" sldId="2416"/>
        </pc:sldMkLst>
        <pc:grpChg chg="mod">
          <ac:chgData name="Müller, Kurt (SI BP S TSS TR)" userId="e7e82c7e-80c6-42a5-ab71-24588885b7fe" providerId="ADAL" clId="{9A68D976-6B27-41CF-A773-96FB881042A0}" dt="2021-05-20T13:15:59.649" v="15" actId="1076"/>
          <ac:grpSpMkLst>
            <pc:docMk/>
            <pc:sldMk cId="438231851" sldId="2416"/>
            <ac:grpSpMk id="28" creationId="{D886C480-E861-4D36-B0ED-5B5B844F0647}"/>
          </ac:grpSpMkLst>
        </pc:grpChg>
        <pc:picChg chg="add mod">
          <ac:chgData name="Müller, Kurt (SI BP S TSS TR)" userId="e7e82c7e-80c6-42a5-ab71-24588885b7fe" providerId="ADAL" clId="{9A68D976-6B27-41CF-A773-96FB881042A0}" dt="2021-05-20T13:17:04.449" v="21" actId="1076"/>
          <ac:picMkLst>
            <pc:docMk/>
            <pc:sldMk cId="438231851" sldId="2416"/>
            <ac:picMk id="32" creationId="{F519369F-83ED-4187-B014-527A33EB59E3}"/>
          </ac:picMkLst>
        </pc:picChg>
      </pc:sldChg>
    </pc:docChg>
  </pc:docChgLst>
  <pc:docChgLst>
    <pc:chgData name="Müller, Kurt (SI BP S TSS ACD)" userId="e7e82c7e-80c6-42a5-ab71-24588885b7fe" providerId="ADAL" clId="{167FC261-9733-43D8-A9C5-B462733A4DDF}"/>
    <pc:docChg chg="undo custSel addSld delSld modSld sldOrd">
      <pc:chgData name="Müller, Kurt (SI BP S TSS ACD)" userId="e7e82c7e-80c6-42a5-ab71-24588885b7fe" providerId="ADAL" clId="{167FC261-9733-43D8-A9C5-B462733A4DDF}" dt="2021-11-05T17:59:01.523" v="2802" actId="47"/>
      <pc:docMkLst>
        <pc:docMk/>
      </pc:docMkLst>
      <pc:sldChg chg="addSp delSp modSp add del mod ord delAnim">
        <pc:chgData name="Müller, Kurt (SI BP S TSS ACD)" userId="e7e82c7e-80c6-42a5-ab71-24588885b7fe" providerId="ADAL" clId="{167FC261-9733-43D8-A9C5-B462733A4DDF}" dt="2021-11-05T09:02:50.205" v="1109" actId="47"/>
        <pc:sldMkLst>
          <pc:docMk/>
          <pc:sldMk cId="1872949293" sldId="257"/>
        </pc:sldMkLst>
        <pc:spChg chg="add mod">
          <ac:chgData name="Müller, Kurt (SI BP S TSS ACD)" userId="e7e82c7e-80c6-42a5-ab71-24588885b7fe" providerId="ADAL" clId="{167FC261-9733-43D8-A9C5-B462733A4DDF}" dt="2021-11-02T09:32:27.490" v="740" actId="478"/>
          <ac:spMkLst>
            <pc:docMk/>
            <pc:sldMk cId="1872949293" sldId="257"/>
            <ac:spMk id="4" creationId="{B716E896-99C9-4806-BB7F-E17F6220C0C3}"/>
          </ac:spMkLst>
        </pc:spChg>
        <pc:grpChg chg="del">
          <ac:chgData name="Müller, Kurt (SI BP S TSS ACD)" userId="e7e82c7e-80c6-42a5-ab71-24588885b7fe" providerId="ADAL" clId="{167FC261-9733-43D8-A9C5-B462733A4DDF}" dt="2021-11-02T09:32:27.490" v="740" actId="478"/>
          <ac:grpSpMkLst>
            <pc:docMk/>
            <pc:sldMk cId="1872949293" sldId="257"/>
            <ac:grpSpMk id="46" creationId="{31284181-8A34-466D-B598-0C36A6927D17}"/>
          </ac:grpSpMkLst>
        </pc:grpChg>
        <pc:grpChg chg="del">
          <ac:chgData name="Müller, Kurt (SI BP S TSS ACD)" userId="e7e82c7e-80c6-42a5-ab71-24588885b7fe" providerId="ADAL" clId="{167FC261-9733-43D8-A9C5-B462733A4DDF}" dt="2021-11-02T09:32:27.490" v="740" actId="478"/>
          <ac:grpSpMkLst>
            <pc:docMk/>
            <pc:sldMk cId="1872949293" sldId="257"/>
            <ac:grpSpMk id="47" creationId="{6C632E47-5094-4FF9-BA00-F93B6F3B38D7}"/>
          </ac:grpSpMkLst>
        </pc:grpChg>
        <pc:grpChg chg="del">
          <ac:chgData name="Müller, Kurt (SI BP S TSS ACD)" userId="e7e82c7e-80c6-42a5-ab71-24588885b7fe" providerId="ADAL" clId="{167FC261-9733-43D8-A9C5-B462733A4DDF}" dt="2021-11-02T09:32:27.490" v="740" actId="478"/>
          <ac:grpSpMkLst>
            <pc:docMk/>
            <pc:sldMk cId="1872949293" sldId="257"/>
            <ac:grpSpMk id="48" creationId="{C72E9514-B304-40BF-8579-5B6F8A641D79}"/>
          </ac:grpSpMkLst>
        </pc:grpChg>
        <pc:grpChg chg="del">
          <ac:chgData name="Müller, Kurt (SI BP S TSS ACD)" userId="e7e82c7e-80c6-42a5-ab71-24588885b7fe" providerId="ADAL" clId="{167FC261-9733-43D8-A9C5-B462733A4DDF}" dt="2021-11-02T09:32:27.490" v="740" actId="478"/>
          <ac:grpSpMkLst>
            <pc:docMk/>
            <pc:sldMk cId="1872949293" sldId="257"/>
            <ac:grpSpMk id="50" creationId="{50B06850-FEB1-4805-8765-B1D8908AC093}"/>
          </ac:grpSpMkLst>
        </pc:grpChg>
        <pc:grpChg chg="del">
          <ac:chgData name="Müller, Kurt (SI BP S TSS ACD)" userId="e7e82c7e-80c6-42a5-ab71-24588885b7fe" providerId="ADAL" clId="{167FC261-9733-43D8-A9C5-B462733A4DDF}" dt="2021-11-02T09:32:27.490" v="740" actId="478"/>
          <ac:grpSpMkLst>
            <pc:docMk/>
            <pc:sldMk cId="1872949293" sldId="257"/>
            <ac:grpSpMk id="51" creationId="{208ABBA4-8EA9-4B52-96CE-82F6AA8EC4EF}"/>
          </ac:grpSpMkLst>
        </pc:grpChg>
        <pc:picChg chg="add mod">
          <ac:chgData name="Müller, Kurt (SI BP S TSS ACD)" userId="e7e82c7e-80c6-42a5-ab71-24588885b7fe" providerId="ADAL" clId="{167FC261-9733-43D8-A9C5-B462733A4DDF}" dt="2021-11-02T09:32:34.036" v="743" actId="1076"/>
          <ac:picMkLst>
            <pc:docMk/>
            <pc:sldMk cId="1872949293" sldId="257"/>
            <ac:picMk id="2" creationId="{CA2C41B5-5363-4C32-A17E-3BCA48D9EA23}"/>
          </ac:picMkLst>
        </pc:picChg>
        <pc:picChg chg="del">
          <ac:chgData name="Müller, Kurt (SI BP S TSS ACD)" userId="e7e82c7e-80c6-42a5-ab71-24588885b7fe" providerId="ADAL" clId="{167FC261-9733-43D8-A9C5-B462733A4DDF}" dt="2021-11-02T09:32:27.490" v="740" actId="478"/>
          <ac:picMkLst>
            <pc:docMk/>
            <pc:sldMk cId="1872949293" sldId="257"/>
            <ac:picMk id="7" creationId="{067961DD-0C83-4D45-BC36-532FBB690924}"/>
          </ac:picMkLst>
        </pc:picChg>
        <pc:picChg chg="del">
          <ac:chgData name="Müller, Kurt (SI BP S TSS ACD)" userId="e7e82c7e-80c6-42a5-ab71-24588885b7fe" providerId="ADAL" clId="{167FC261-9733-43D8-A9C5-B462733A4DDF}" dt="2021-11-02T09:32:27.490" v="740" actId="478"/>
          <ac:picMkLst>
            <pc:docMk/>
            <pc:sldMk cId="1872949293" sldId="257"/>
            <ac:picMk id="10" creationId="{672411F8-68D7-4543-9167-EBC65030B9FA}"/>
          </ac:picMkLst>
        </pc:picChg>
        <pc:cxnChg chg="mod">
          <ac:chgData name="Müller, Kurt (SI BP S TSS ACD)" userId="e7e82c7e-80c6-42a5-ab71-24588885b7fe" providerId="ADAL" clId="{167FC261-9733-43D8-A9C5-B462733A4DDF}" dt="2021-11-02T09:32:27.490" v="740" actId="478"/>
          <ac:cxnSpMkLst>
            <pc:docMk/>
            <pc:sldMk cId="1872949293" sldId="257"/>
            <ac:cxnSpMk id="15" creationId="{FA74AACC-8F7E-4963-A3E0-AD8E5B71C894}"/>
          </ac:cxnSpMkLst>
        </pc:cxnChg>
      </pc:sldChg>
      <pc:sldChg chg="modSp del mod">
        <pc:chgData name="Müller, Kurt (SI BP S TSS ACD)" userId="e7e82c7e-80c6-42a5-ab71-24588885b7fe" providerId="ADAL" clId="{167FC261-9733-43D8-A9C5-B462733A4DDF}" dt="2021-11-05T17:59:00.511" v="2801" actId="47"/>
        <pc:sldMkLst>
          <pc:docMk/>
          <pc:sldMk cId="578141691" sldId="2459"/>
        </pc:sldMkLst>
        <pc:spChg chg="mod">
          <ac:chgData name="Müller, Kurt (SI BP S TSS ACD)" userId="e7e82c7e-80c6-42a5-ab71-24588885b7fe" providerId="ADAL" clId="{167FC261-9733-43D8-A9C5-B462733A4DDF}" dt="2021-11-05T17:56:24.775" v="2754" actId="14100"/>
          <ac:spMkLst>
            <pc:docMk/>
            <pc:sldMk cId="578141691" sldId="2459"/>
            <ac:spMk id="20" creationId="{2A27FA31-F982-4A71-8CAF-D323DC85DE85}"/>
          </ac:spMkLst>
        </pc:spChg>
      </pc:sldChg>
      <pc:sldChg chg="modSp del mod modShow">
        <pc:chgData name="Müller, Kurt (SI BP S TSS ACD)" userId="e7e82c7e-80c6-42a5-ab71-24588885b7fe" providerId="ADAL" clId="{167FC261-9733-43D8-A9C5-B462733A4DDF}" dt="2021-11-05T14:52:53.777" v="2357" actId="47"/>
        <pc:sldMkLst>
          <pc:docMk/>
          <pc:sldMk cId="65606037" sldId="2494"/>
        </pc:sldMkLst>
        <pc:spChg chg="mod">
          <ac:chgData name="Müller, Kurt (SI BP S TSS ACD)" userId="e7e82c7e-80c6-42a5-ab71-24588885b7fe" providerId="ADAL" clId="{167FC261-9733-43D8-A9C5-B462733A4DDF}" dt="2021-10-19T09:36:07.443" v="690" actId="20577"/>
          <ac:spMkLst>
            <pc:docMk/>
            <pc:sldMk cId="65606037" sldId="2494"/>
            <ac:spMk id="16" creationId="{E55DB4A8-8483-43B1-BEC7-B0701E6D6039}"/>
          </ac:spMkLst>
        </pc:spChg>
      </pc:sldChg>
      <pc:sldChg chg="addSp delSp modSp mod">
        <pc:chgData name="Müller, Kurt (SI BP S TSS ACD)" userId="e7e82c7e-80c6-42a5-ab71-24588885b7fe" providerId="ADAL" clId="{167FC261-9733-43D8-A9C5-B462733A4DDF}" dt="2021-11-05T17:58:53.816" v="2800" actId="1076"/>
        <pc:sldMkLst>
          <pc:docMk/>
          <pc:sldMk cId="981125185" sldId="2496"/>
        </pc:sldMkLst>
        <pc:spChg chg="mod">
          <ac:chgData name="Müller, Kurt (SI BP S TSS ACD)" userId="e7e82c7e-80c6-42a5-ab71-24588885b7fe" providerId="ADAL" clId="{167FC261-9733-43D8-A9C5-B462733A4DDF}" dt="2021-11-05T17:57:39.546" v="2784" actId="20577"/>
          <ac:spMkLst>
            <pc:docMk/>
            <pc:sldMk cId="981125185" sldId="2496"/>
            <ac:spMk id="30" creationId="{1188C648-6BAF-45F2-9DC8-CC5693773129}"/>
          </ac:spMkLst>
        </pc:spChg>
        <pc:spChg chg="mod">
          <ac:chgData name="Müller, Kurt (SI BP S TSS ACD)" userId="e7e82c7e-80c6-42a5-ab71-24588885b7fe" providerId="ADAL" clId="{167FC261-9733-43D8-A9C5-B462733A4DDF}" dt="2021-11-05T17:58:24.335" v="2794" actId="164"/>
          <ac:spMkLst>
            <pc:docMk/>
            <pc:sldMk cId="981125185" sldId="2496"/>
            <ac:spMk id="40" creationId="{2CE53672-8924-4875-92FB-AB4174AF7AEE}"/>
          </ac:spMkLst>
        </pc:spChg>
        <pc:spChg chg="mod">
          <ac:chgData name="Müller, Kurt (SI BP S TSS ACD)" userId="e7e82c7e-80c6-42a5-ab71-24588885b7fe" providerId="ADAL" clId="{167FC261-9733-43D8-A9C5-B462733A4DDF}" dt="2021-11-05T17:58:24.335" v="2794" actId="164"/>
          <ac:spMkLst>
            <pc:docMk/>
            <pc:sldMk cId="981125185" sldId="2496"/>
            <ac:spMk id="43" creationId="{7F2E00D5-9EC5-47B5-87A8-E9353C124C75}"/>
          </ac:spMkLst>
        </pc:spChg>
        <pc:spChg chg="mod">
          <ac:chgData name="Müller, Kurt (SI BP S TSS ACD)" userId="e7e82c7e-80c6-42a5-ab71-24588885b7fe" providerId="ADAL" clId="{167FC261-9733-43D8-A9C5-B462733A4DDF}" dt="2021-11-05T17:58:24.335" v="2794" actId="164"/>
          <ac:spMkLst>
            <pc:docMk/>
            <pc:sldMk cId="981125185" sldId="2496"/>
            <ac:spMk id="85" creationId="{9CD2A916-32D2-470E-BA9D-27137E464CA5}"/>
          </ac:spMkLst>
        </pc:spChg>
        <pc:spChg chg="mod">
          <ac:chgData name="Müller, Kurt (SI BP S TSS ACD)" userId="e7e82c7e-80c6-42a5-ab71-24588885b7fe" providerId="ADAL" clId="{167FC261-9733-43D8-A9C5-B462733A4DDF}" dt="2021-11-05T17:58:46.201" v="2798" actId="14100"/>
          <ac:spMkLst>
            <pc:docMk/>
            <pc:sldMk cId="981125185" sldId="2496"/>
            <ac:spMk id="94" creationId="{B8F23A14-DD5E-4D5B-8114-1AA9296A246C}"/>
          </ac:spMkLst>
        </pc:spChg>
        <pc:spChg chg="mod">
          <ac:chgData name="Müller, Kurt (SI BP S TSS ACD)" userId="e7e82c7e-80c6-42a5-ab71-24588885b7fe" providerId="ADAL" clId="{167FC261-9733-43D8-A9C5-B462733A4DDF}" dt="2021-11-05T17:58:24.335" v="2794" actId="164"/>
          <ac:spMkLst>
            <pc:docMk/>
            <pc:sldMk cId="981125185" sldId="2496"/>
            <ac:spMk id="95" creationId="{EE733D43-C7C9-4C94-A443-61FB5D0F1443}"/>
          </ac:spMkLst>
        </pc:spChg>
        <pc:spChg chg="mod">
          <ac:chgData name="Müller, Kurt (SI BP S TSS ACD)" userId="e7e82c7e-80c6-42a5-ab71-24588885b7fe" providerId="ADAL" clId="{167FC261-9733-43D8-A9C5-B462733A4DDF}" dt="2021-11-05T17:58:43.909" v="2797" actId="14100"/>
          <ac:spMkLst>
            <pc:docMk/>
            <pc:sldMk cId="981125185" sldId="2496"/>
            <ac:spMk id="96" creationId="{FE0122C7-D966-4760-A6CE-7A3C14FAF87D}"/>
          </ac:spMkLst>
        </pc:spChg>
        <pc:spChg chg="mod">
          <ac:chgData name="Müller, Kurt (SI BP S TSS ACD)" userId="e7e82c7e-80c6-42a5-ab71-24588885b7fe" providerId="ADAL" clId="{167FC261-9733-43D8-A9C5-B462733A4DDF}" dt="2021-11-05T17:58:24.335" v="2794" actId="164"/>
          <ac:spMkLst>
            <pc:docMk/>
            <pc:sldMk cId="981125185" sldId="2496"/>
            <ac:spMk id="97" creationId="{4DC062BF-E375-4D7A-BB28-591570B8604D}"/>
          </ac:spMkLst>
        </pc:spChg>
        <pc:spChg chg="mod">
          <ac:chgData name="Müller, Kurt (SI BP S TSS ACD)" userId="e7e82c7e-80c6-42a5-ab71-24588885b7fe" providerId="ADAL" clId="{167FC261-9733-43D8-A9C5-B462733A4DDF}" dt="2021-11-05T17:58:53.816" v="2800" actId="1076"/>
          <ac:spMkLst>
            <pc:docMk/>
            <pc:sldMk cId="981125185" sldId="2496"/>
            <ac:spMk id="99" creationId="{B838206D-CC08-4AD8-B86F-4B21014AA281}"/>
          </ac:spMkLst>
        </pc:spChg>
        <pc:spChg chg="mod">
          <ac:chgData name="Müller, Kurt (SI BP S TSS ACD)" userId="e7e82c7e-80c6-42a5-ab71-24588885b7fe" providerId="ADAL" clId="{167FC261-9733-43D8-A9C5-B462733A4DDF}" dt="2021-11-05T17:58:50.729" v="2799" actId="1076"/>
          <ac:spMkLst>
            <pc:docMk/>
            <pc:sldMk cId="981125185" sldId="2496"/>
            <ac:spMk id="100" creationId="{FBD44D56-396D-4DF5-9B5A-1B04CDF37451}"/>
          </ac:spMkLst>
        </pc:spChg>
        <pc:spChg chg="mod">
          <ac:chgData name="Müller, Kurt (SI BP S TSS ACD)" userId="e7e82c7e-80c6-42a5-ab71-24588885b7fe" providerId="ADAL" clId="{167FC261-9733-43D8-A9C5-B462733A4DDF}" dt="2021-11-05T17:58:50.729" v="2799" actId="1076"/>
          <ac:spMkLst>
            <pc:docMk/>
            <pc:sldMk cId="981125185" sldId="2496"/>
            <ac:spMk id="101" creationId="{0F3842CB-B415-4DEA-918B-2B4CAF9E024D}"/>
          </ac:spMkLst>
        </pc:spChg>
        <pc:spChg chg="add mod">
          <ac:chgData name="Müller, Kurt (SI BP S TSS ACD)" userId="e7e82c7e-80c6-42a5-ab71-24588885b7fe" providerId="ADAL" clId="{167FC261-9733-43D8-A9C5-B462733A4DDF}" dt="2021-11-05T17:58:07.048" v="2791" actId="1076"/>
          <ac:spMkLst>
            <pc:docMk/>
            <pc:sldMk cId="981125185" sldId="2496"/>
            <ac:spMk id="102" creationId="{7272B434-DFF7-4365-9052-ECBE573978BD}"/>
          </ac:spMkLst>
        </pc:spChg>
        <pc:spChg chg="mod">
          <ac:chgData name="Müller, Kurt (SI BP S TSS ACD)" userId="e7e82c7e-80c6-42a5-ab71-24588885b7fe" providerId="ADAL" clId="{167FC261-9733-43D8-A9C5-B462733A4DDF}" dt="2021-11-05T17:56:29.407" v="2755" actId="1076"/>
          <ac:spMkLst>
            <pc:docMk/>
            <pc:sldMk cId="981125185" sldId="2496"/>
            <ac:spMk id="104" creationId="{138359A0-4F99-4CD4-A104-255B217F9BCE}"/>
          </ac:spMkLst>
        </pc:spChg>
        <pc:spChg chg="mod">
          <ac:chgData name="Müller, Kurt (SI BP S TSS ACD)" userId="e7e82c7e-80c6-42a5-ab71-24588885b7fe" providerId="ADAL" clId="{167FC261-9733-43D8-A9C5-B462733A4DDF}" dt="2021-11-05T17:56:44.875" v="2759" actId="1076"/>
          <ac:spMkLst>
            <pc:docMk/>
            <pc:sldMk cId="981125185" sldId="2496"/>
            <ac:spMk id="105" creationId="{D0371368-BBC5-4384-9CA5-AFFD3FD0AA7A}"/>
          </ac:spMkLst>
        </pc:spChg>
        <pc:spChg chg="add mod">
          <ac:chgData name="Müller, Kurt (SI BP S TSS ACD)" userId="e7e82c7e-80c6-42a5-ab71-24588885b7fe" providerId="ADAL" clId="{167FC261-9733-43D8-A9C5-B462733A4DDF}" dt="2021-11-05T17:58:12.952" v="2793" actId="14100"/>
          <ac:spMkLst>
            <pc:docMk/>
            <pc:sldMk cId="981125185" sldId="2496"/>
            <ac:spMk id="106" creationId="{568D2ADE-E380-46DB-82AD-290E8528F85E}"/>
          </ac:spMkLst>
        </pc:spChg>
        <pc:spChg chg="del">
          <ac:chgData name="Müller, Kurt (SI BP S TSS ACD)" userId="e7e82c7e-80c6-42a5-ab71-24588885b7fe" providerId="ADAL" clId="{167FC261-9733-43D8-A9C5-B462733A4DDF}" dt="2021-11-05T17:55:47.652" v="2752" actId="478"/>
          <ac:spMkLst>
            <pc:docMk/>
            <pc:sldMk cId="981125185" sldId="2496"/>
            <ac:spMk id="10244" creationId="{5C611FE8-0082-4460-BF69-A95070B9CAEB}"/>
          </ac:spMkLst>
        </pc:spChg>
        <pc:grpChg chg="add mod">
          <ac:chgData name="Müller, Kurt (SI BP S TSS ACD)" userId="e7e82c7e-80c6-42a5-ab71-24588885b7fe" providerId="ADAL" clId="{167FC261-9733-43D8-A9C5-B462733A4DDF}" dt="2021-11-05T17:58:37.932" v="2796" actId="14100"/>
          <ac:grpSpMkLst>
            <pc:docMk/>
            <pc:sldMk cId="981125185" sldId="2496"/>
            <ac:grpSpMk id="2" creationId="{9B39BEC7-0374-4F3F-9EE1-4E19F5872651}"/>
          </ac:grpSpMkLst>
        </pc:grpChg>
        <pc:grpChg chg="mod">
          <ac:chgData name="Müller, Kurt (SI BP S TSS ACD)" userId="e7e82c7e-80c6-42a5-ab71-24588885b7fe" providerId="ADAL" clId="{167FC261-9733-43D8-A9C5-B462733A4DDF}" dt="2021-11-05T17:58:24.335" v="2794" actId="164"/>
          <ac:grpSpMkLst>
            <pc:docMk/>
            <pc:sldMk cId="981125185" sldId="2496"/>
            <ac:grpSpMk id="44" creationId="{824058ED-5D5A-4468-A05C-8B47D5EDF5F3}"/>
          </ac:grpSpMkLst>
        </pc:grpChg>
        <pc:grpChg chg="mod">
          <ac:chgData name="Müller, Kurt (SI BP S TSS ACD)" userId="e7e82c7e-80c6-42a5-ab71-24588885b7fe" providerId="ADAL" clId="{167FC261-9733-43D8-A9C5-B462733A4DDF}" dt="2021-11-05T17:58:24.335" v="2794" actId="164"/>
          <ac:grpSpMkLst>
            <pc:docMk/>
            <pc:sldMk cId="981125185" sldId="2496"/>
            <ac:grpSpMk id="48" creationId="{870AF27E-6CC3-4701-A688-1C0D81888521}"/>
          </ac:grpSpMkLst>
        </pc:grpChg>
        <pc:grpChg chg="mod">
          <ac:chgData name="Müller, Kurt (SI BP S TSS ACD)" userId="e7e82c7e-80c6-42a5-ab71-24588885b7fe" providerId="ADAL" clId="{167FC261-9733-43D8-A9C5-B462733A4DDF}" dt="2021-11-05T17:58:24.335" v="2794" actId="164"/>
          <ac:grpSpMkLst>
            <pc:docMk/>
            <pc:sldMk cId="981125185" sldId="2496"/>
            <ac:grpSpMk id="51" creationId="{33824546-D721-4232-9443-B923B3771D74}"/>
          </ac:grpSpMkLst>
        </pc:grpChg>
        <pc:grpChg chg="mod">
          <ac:chgData name="Müller, Kurt (SI BP S TSS ACD)" userId="e7e82c7e-80c6-42a5-ab71-24588885b7fe" providerId="ADAL" clId="{167FC261-9733-43D8-A9C5-B462733A4DDF}" dt="2021-11-05T17:58:24.335" v="2794" actId="164"/>
          <ac:grpSpMkLst>
            <pc:docMk/>
            <pc:sldMk cId="981125185" sldId="2496"/>
            <ac:grpSpMk id="57" creationId="{A5BC467E-F1FC-4762-91BE-C74A45AC2F87}"/>
          </ac:grpSpMkLst>
        </pc:grpChg>
        <pc:grpChg chg="mod">
          <ac:chgData name="Müller, Kurt (SI BP S TSS ACD)" userId="e7e82c7e-80c6-42a5-ab71-24588885b7fe" providerId="ADAL" clId="{167FC261-9733-43D8-A9C5-B462733A4DDF}" dt="2021-11-05T17:58:24.335" v="2794" actId="164"/>
          <ac:grpSpMkLst>
            <pc:docMk/>
            <pc:sldMk cId="981125185" sldId="2496"/>
            <ac:grpSpMk id="64" creationId="{FF852F69-D8DE-42D3-A34F-BAA402291F79}"/>
          </ac:grpSpMkLst>
        </pc:grpChg>
        <pc:grpChg chg="mod">
          <ac:chgData name="Müller, Kurt (SI BP S TSS ACD)" userId="e7e82c7e-80c6-42a5-ab71-24588885b7fe" providerId="ADAL" clId="{167FC261-9733-43D8-A9C5-B462733A4DDF}" dt="2021-11-05T17:58:24.335" v="2794" actId="164"/>
          <ac:grpSpMkLst>
            <pc:docMk/>
            <pc:sldMk cId="981125185" sldId="2496"/>
            <ac:grpSpMk id="70" creationId="{0CF82B51-0F0A-4CED-A8E5-9DCCC174B23F}"/>
          </ac:grpSpMkLst>
        </pc:grpChg>
        <pc:grpChg chg="mod">
          <ac:chgData name="Müller, Kurt (SI BP S TSS ACD)" userId="e7e82c7e-80c6-42a5-ab71-24588885b7fe" providerId="ADAL" clId="{167FC261-9733-43D8-A9C5-B462733A4DDF}" dt="2021-11-05T17:58:24.335" v="2794" actId="164"/>
          <ac:grpSpMkLst>
            <pc:docMk/>
            <pc:sldMk cId="981125185" sldId="2496"/>
            <ac:grpSpMk id="78" creationId="{1711D912-0748-49B3-8E0C-832E323EB870}"/>
          </ac:grpSpMkLst>
        </pc:grpChg>
        <pc:grpChg chg="mod">
          <ac:chgData name="Müller, Kurt (SI BP S TSS ACD)" userId="e7e82c7e-80c6-42a5-ab71-24588885b7fe" providerId="ADAL" clId="{167FC261-9733-43D8-A9C5-B462733A4DDF}" dt="2021-11-05T17:58:24.335" v="2794" actId="164"/>
          <ac:grpSpMkLst>
            <pc:docMk/>
            <pc:sldMk cId="981125185" sldId="2496"/>
            <ac:grpSpMk id="86" creationId="{63CA0D28-DE80-4B0C-9947-7BC600EE6E20}"/>
          </ac:grpSpMkLst>
        </pc:grpChg>
        <pc:grpChg chg="mod">
          <ac:chgData name="Müller, Kurt (SI BP S TSS ACD)" userId="e7e82c7e-80c6-42a5-ab71-24588885b7fe" providerId="ADAL" clId="{167FC261-9733-43D8-A9C5-B462733A4DDF}" dt="2021-11-05T17:58:24.335" v="2794" actId="164"/>
          <ac:grpSpMkLst>
            <pc:docMk/>
            <pc:sldMk cId="981125185" sldId="2496"/>
            <ac:grpSpMk id="90" creationId="{E59E5B2D-AFC6-4810-983A-D2DBF60A4889}"/>
          </ac:grpSpMkLst>
        </pc:grpChg>
        <pc:picChg chg="mod">
          <ac:chgData name="Müller, Kurt (SI BP S TSS ACD)" userId="e7e82c7e-80c6-42a5-ab71-24588885b7fe" providerId="ADAL" clId="{167FC261-9733-43D8-A9C5-B462733A4DDF}" dt="2021-11-05T17:58:04.523" v="2790" actId="14100"/>
          <ac:picMkLst>
            <pc:docMk/>
            <pc:sldMk cId="981125185" sldId="2496"/>
            <ac:picMk id="28" creationId="{1ACE2F9F-B6FA-44D7-99F0-75EF4ABDAC86}"/>
          </ac:picMkLst>
        </pc:picChg>
        <pc:picChg chg="mod">
          <ac:chgData name="Müller, Kurt (SI BP S TSS ACD)" userId="e7e82c7e-80c6-42a5-ab71-24588885b7fe" providerId="ADAL" clId="{167FC261-9733-43D8-A9C5-B462733A4DDF}" dt="2021-11-05T17:56:41.919" v="2758" actId="1076"/>
          <ac:picMkLst>
            <pc:docMk/>
            <pc:sldMk cId="981125185" sldId="2496"/>
            <ac:picMk id="103" creationId="{1CC8858D-D277-412C-A327-B2F0CD9E5E84}"/>
          </ac:picMkLst>
        </pc:picChg>
        <pc:cxnChg chg="mod">
          <ac:chgData name="Müller, Kurt (SI BP S TSS ACD)" userId="e7e82c7e-80c6-42a5-ab71-24588885b7fe" providerId="ADAL" clId="{167FC261-9733-43D8-A9C5-B462733A4DDF}" dt="2021-11-05T17:58:24.335" v="2794" actId="164"/>
          <ac:cxnSpMkLst>
            <pc:docMk/>
            <pc:sldMk cId="981125185" sldId="2496"/>
            <ac:cxnSpMk id="42" creationId="{B6AD1BC8-1444-4B14-81A3-BACFAA761D93}"/>
          </ac:cxnSpMkLst>
        </pc:cxnChg>
        <pc:cxnChg chg="mod">
          <ac:chgData name="Müller, Kurt (SI BP S TSS ACD)" userId="e7e82c7e-80c6-42a5-ab71-24588885b7fe" providerId="ADAL" clId="{167FC261-9733-43D8-A9C5-B462733A4DDF}" dt="2021-11-05T17:58:24.335" v="2794" actId="164"/>
          <ac:cxnSpMkLst>
            <pc:docMk/>
            <pc:sldMk cId="981125185" sldId="2496"/>
            <ac:cxnSpMk id="47" creationId="{04B8DD7D-0D12-4397-818E-BCC77E2F41C7}"/>
          </ac:cxnSpMkLst>
        </pc:cxnChg>
        <pc:cxnChg chg="mod">
          <ac:chgData name="Müller, Kurt (SI BP S TSS ACD)" userId="e7e82c7e-80c6-42a5-ab71-24588885b7fe" providerId="ADAL" clId="{167FC261-9733-43D8-A9C5-B462733A4DDF}" dt="2021-11-05T17:58:24.335" v="2794" actId="164"/>
          <ac:cxnSpMkLst>
            <pc:docMk/>
            <pc:sldMk cId="981125185" sldId="2496"/>
            <ac:cxnSpMk id="68" creationId="{1586F229-52CF-441E-BAA0-2E4FB3A12DA7}"/>
          </ac:cxnSpMkLst>
        </pc:cxnChg>
        <pc:cxnChg chg="mod">
          <ac:chgData name="Müller, Kurt (SI BP S TSS ACD)" userId="e7e82c7e-80c6-42a5-ab71-24588885b7fe" providerId="ADAL" clId="{167FC261-9733-43D8-A9C5-B462733A4DDF}" dt="2021-11-05T17:58:24.335" v="2794" actId="164"/>
          <ac:cxnSpMkLst>
            <pc:docMk/>
            <pc:sldMk cId="981125185" sldId="2496"/>
            <ac:cxnSpMk id="69" creationId="{DE2F2A51-9851-42B2-B3FE-5E257D13D112}"/>
          </ac:cxnSpMkLst>
        </pc:cxnChg>
        <pc:cxnChg chg="mod">
          <ac:chgData name="Müller, Kurt (SI BP S TSS ACD)" userId="e7e82c7e-80c6-42a5-ab71-24588885b7fe" providerId="ADAL" clId="{167FC261-9733-43D8-A9C5-B462733A4DDF}" dt="2021-11-05T17:58:24.335" v="2794" actId="164"/>
          <ac:cxnSpMkLst>
            <pc:docMk/>
            <pc:sldMk cId="981125185" sldId="2496"/>
            <ac:cxnSpMk id="76" creationId="{1379FE01-FF51-42D5-91EE-D8B40078A10C}"/>
          </ac:cxnSpMkLst>
        </pc:cxnChg>
        <pc:cxnChg chg="mod">
          <ac:chgData name="Müller, Kurt (SI BP S TSS ACD)" userId="e7e82c7e-80c6-42a5-ab71-24588885b7fe" providerId="ADAL" clId="{167FC261-9733-43D8-A9C5-B462733A4DDF}" dt="2021-11-05T17:58:24.335" v="2794" actId="164"/>
          <ac:cxnSpMkLst>
            <pc:docMk/>
            <pc:sldMk cId="981125185" sldId="2496"/>
            <ac:cxnSpMk id="77" creationId="{E94DDB47-0EF3-41FB-9C98-66718A6B2DF0}"/>
          </ac:cxnSpMkLst>
        </pc:cxnChg>
        <pc:cxnChg chg="mod">
          <ac:chgData name="Müller, Kurt (SI BP S TSS ACD)" userId="e7e82c7e-80c6-42a5-ab71-24588885b7fe" providerId="ADAL" clId="{167FC261-9733-43D8-A9C5-B462733A4DDF}" dt="2021-11-05T17:58:24.335" v="2794" actId="164"/>
          <ac:cxnSpMkLst>
            <pc:docMk/>
            <pc:sldMk cId="981125185" sldId="2496"/>
            <ac:cxnSpMk id="84" creationId="{5379F343-6BEE-4862-B243-EAE311C6CA45}"/>
          </ac:cxnSpMkLst>
        </pc:cxnChg>
        <pc:cxnChg chg="mod">
          <ac:chgData name="Müller, Kurt (SI BP S TSS ACD)" userId="e7e82c7e-80c6-42a5-ab71-24588885b7fe" providerId="ADAL" clId="{167FC261-9733-43D8-A9C5-B462733A4DDF}" dt="2021-11-05T17:58:24.335" v="2794" actId="164"/>
          <ac:cxnSpMkLst>
            <pc:docMk/>
            <pc:sldMk cId="981125185" sldId="2496"/>
            <ac:cxnSpMk id="98" creationId="{04F2575E-3FA9-4618-9282-D10A4F06365D}"/>
          </ac:cxnSpMkLst>
        </pc:cxnChg>
      </pc:sldChg>
      <pc:sldChg chg="addSp delSp modSp mod">
        <pc:chgData name="Müller, Kurt (SI BP S TSS ACD)" userId="e7e82c7e-80c6-42a5-ab71-24588885b7fe" providerId="ADAL" clId="{167FC261-9733-43D8-A9C5-B462733A4DDF}" dt="2021-11-05T17:55:23.843" v="2749" actId="478"/>
        <pc:sldMkLst>
          <pc:docMk/>
          <pc:sldMk cId="370757316" sldId="2497"/>
        </pc:sldMkLst>
        <pc:spChg chg="add del mod">
          <ac:chgData name="Müller, Kurt (SI BP S TSS ACD)" userId="e7e82c7e-80c6-42a5-ab71-24588885b7fe" providerId="ADAL" clId="{167FC261-9733-43D8-A9C5-B462733A4DDF}" dt="2021-11-02T10:30:08.341" v="1030" actId="478"/>
          <ac:spMkLst>
            <pc:docMk/>
            <pc:sldMk cId="370757316" sldId="2497"/>
            <ac:spMk id="12" creationId="{26A65EF6-56C7-4897-9154-E210FA2B0107}"/>
          </ac:spMkLst>
        </pc:spChg>
        <pc:spChg chg="mod">
          <ac:chgData name="Müller, Kurt (SI BP S TSS ACD)" userId="e7e82c7e-80c6-42a5-ab71-24588885b7fe" providerId="ADAL" clId="{167FC261-9733-43D8-A9C5-B462733A4DDF}" dt="2021-11-05T10:34:47.953" v="1765" actId="1076"/>
          <ac:spMkLst>
            <pc:docMk/>
            <pc:sldMk cId="370757316" sldId="2497"/>
            <ac:spMk id="13" creationId="{21F58B57-5072-479A-89C9-A0A0D07B3A40}"/>
          </ac:spMkLst>
        </pc:spChg>
        <pc:spChg chg="mod">
          <ac:chgData name="Müller, Kurt (SI BP S TSS ACD)" userId="e7e82c7e-80c6-42a5-ab71-24588885b7fe" providerId="ADAL" clId="{167FC261-9733-43D8-A9C5-B462733A4DDF}" dt="2021-11-05T10:34:47.953" v="1765" actId="1076"/>
          <ac:spMkLst>
            <pc:docMk/>
            <pc:sldMk cId="370757316" sldId="2497"/>
            <ac:spMk id="14" creationId="{EB828C9E-25E3-4F0D-8498-57D193854036}"/>
          </ac:spMkLst>
        </pc:spChg>
        <pc:spChg chg="del mod">
          <ac:chgData name="Müller, Kurt (SI BP S TSS ACD)" userId="e7e82c7e-80c6-42a5-ab71-24588885b7fe" providerId="ADAL" clId="{167FC261-9733-43D8-A9C5-B462733A4DDF}" dt="2021-11-05T10:33:51.736" v="1758" actId="478"/>
          <ac:spMkLst>
            <pc:docMk/>
            <pc:sldMk cId="370757316" sldId="2497"/>
            <ac:spMk id="15" creationId="{D1A8907A-6719-4AA8-8F19-336F7EA8BF93}"/>
          </ac:spMkLst>
        </pc:spChg>
        <pc:spChg chg="mod">
          <ac:chgData name="Müller, Kurt (SI BP S TSS ACD)" userId="e7e82c7e-80c6-42a5-ab71-24588885b7fe" providerId="ADAL" clId="{167FC261-9733-43D8-A9C5-B462733A4DDF}" dt="2021-11-05T10:34:34.483" v="1764" actId="20577"/>
          <ac:spMkLst>
            <pc:docMk/>
            <pc:sldMk cId="370757316" sldId="2497"/>
            <ac:spMk id="28" creationId="{0E80F07F-4042-402D-AA78-ED4E6DDDE9C0}"/>
          </ac:spMkLst>
        </pc:spChg>
        <pc:spChg chg="mod">
          <ac:chgData name="Müller, Kurt (SI BP S TSS ACD)" userId="e7e82c7e-80c6-42a5-ab71-24588885b7fe" providerId="ADAL" clId="{167FC261-9733-43D8-A9C5-B462733A4DDF}" dt="2021-11-05T10:34:47.953" v="1765" actId="1076"/>
          <ac:spMkLst>
            <pc:docMk/>
            <pc:sldMk cId="370757316" sldId="2497"/>
            <ac:spMk id="40" creationId="{3FEF759D-26B4-40E8-A123-BD6689257C52}"/>
          </ac:spMkLst>
        </pc:spChg>
        <pc:spChg chg="mod">
          <ac:chgData name="Müller, Kurt (SI BP S TSS ACD)" userId="e7e82c7e-80c6-42a5-ab71-24588885b7fe" providerId="ADAL" clId="{167FC261-9733-43D8-A9C5-B462733A4DDF}" dt="2021-11-05T10:34:47.953" v="1765" actId="1076"/>
          <ac:spMkLst>
            <pc:docMk/>
            <pc:sldMk cId="370757316" sldId="2497"/>
            <ac:spMk id="41" creationId="{0CC0719C-31DF-4696-B647-8BA2C1A73E32}"/>
          </ac:spMkLst>
        </pc:spChg>
        <pc:spChg chg="del">
          <ac:chgData name="Müller, Kurt (SI BP S TSS ACD)" userId="e7e82c7e-80c6-42a5-ab71-24588885b7fe" providerId="ADAL" clId="{167FC261-9733-43D8-A9C5-B462733A4DDF}" dt="2021-11-05T17:55:23.843" v="2749" actId="478"/>
          <ac:spMkLst>
            <pc:docMk/>
            <pc:sldMk cId="370757316" sldId="2497"/>
            <ac:spMk id="10244" creationId="{5C611FE8-0082-4460-BF69-A95070B9CAEB}"/>
          </ac:spMkLst>
        </pc:spChg>
        <pc:picChg chg="del mod">
          <ac:chgData name="Müller, Kurt (SI BP S TSS ACD)" userId="e7e82c7e-80c6-42a5-ab71-24588885b7fe" providerId="ADAL" clId="{167FC261-9733-43D8-A9C5-B462733A4DDF}" dt="2021-11-05T10:17:09.552" v="1509" actId="478"/>
          <ac:picMkLst>
            <pc:docMk/>
            <pc:sldMk cId="370757316" sldId="2497"/>
            <ac:picMk id="3" creationId="{C5583FD8-193B-4FFC-BD9A-059E252C9C43}"/>
          </ac:picMkLst>
        </pc:picChg>
      </pc:sldChg>
      <pc:sldChg chg="modSp del mod">
        <pc:chgData name="Müller, Kurt (SI BP S TSS ACD)" userId="e7e82c7e-80c6-42a5-ab71-24588885b7fe" providerId="ADAL" clId="{167FC261-9733-43D8-A9C5-B462733A4DDF}" dt="2021-11-05T17:59:01.523" v="2802" actId="47"/>
        <pc:sldMkLst>
          <pc:docMk/>
          <pc:sldMk cId="2405968689" sldId="2501"/>
        </pc:sldMkLst>
        <pc:spChg chg="mod">
          <ac:chgData name="Müller, Kurt (SI BP S TSS ACD)" userId="e7e82c7e-80c6-42a5-ab71-24588885b7fe" providerId="ADAL" clId="{167FC261-9733-43D8-A9C5-B462733A4DDF}" dt="2021-11-05T17:57:14.583" v="2769" actId="14100"/>
          <ac:spMkLst>
            <pc:docMk/>
            <pc:sldMk cId="2405968689" sldId="2501"/>
            <ac:spMk id="20" creationId="{2A27FA31-F982-4A71-8CAF-D323DC85DE85}"/>
          </ac:spMkLst>
        </pc:spChg>
      </pc:sldChg>
      <pc:sldChg chg="addSp delSp modSp mod">
        <pc:chgData name="Müller, Kurt (SI BP S TSS ACD)" userId="e7e82c7e-80c6-42a5-ab71-24588885b7fe" providerId="ADAL" clId="{167FC261-9733-43D8-A9C5-B462733A4DDF}" dt="2021-11-05T17:55:19.378" v="2748" actId="478"/>
        <pc:sldMkLst>
          <pc:docMk/>
          <pc:sldMk cId="1326469617" sldId="2502"/>
        </pc:sldMkLst>
        <pc:spChg chg="mod">
          <ac:chgData name="Müller, Kurt (SI BP S TSS ACD)" userId="e7e82c7e-80c6-42a5-ab71-24588885b7fe" providerId="ADAL" clId="{167FC261-9733-43D8-A9C5-B462733A4DDF}" dt="2021-11-05T09:46:36.169" v="1162" actId="20577"/>
          <ac:spMkLst>
            <pc:docMk/>
            <pc:sldMk cId="1326469617" sldId="2502"/>
            <ac:spMk id="13" creationId="{3972A43F-EB41-488D-8627-93CE8199840D}"/>
          </ac:spMkLst>
        </pc:spChg>
        <pc:spChg chg="add del">
          <ac:chgData name="Müller, Kurt (SI BP S TSS ACD)" userId="e7e82c7e-80c6-42a5-ab71-24588885b7fe" providerId="ADAL" clId="{167FC261-9733-43D8-A9C5-B462733A4DDF}" dt="2021-11-05T09:46:55.420" v="1164" actId="22"/>
          <ac:spMkLst>
            <pc:docMk/>
            <pc:sldMk cId="1326469617" sldId="2502"/>
            <ac:spMk id="14" creationId="{4C238A38-5EC6-4E6B-9B48-1C7E3B1E8E18}"/>
          </ac:spMkLst>
        </pc:spChg>
        <pc:spChg chg="add mod">
          <ac:chgData name="Müller, Kurt (SI BP S TSS ACD)" userId="e7e82c7e-80c6-42a5-ab71-24588885b7fe" providerId="ADAL" clId="{167FC261-9733-43D8-A9C5-B462733A4DDF}" dt="2021-11-05T17:55:14.037" v="2747" actId="207"/>
          <ac:spMkLst>
            <pc:docMk/>
            <pc:sldMk cId="1326469617" sldId="2502"/>
            <ac:spMk id="16" creationId="{57234F87-9AE3-415B-8AFF-642B9F0F3664}"/>
          </ac:spMkLst>
        </pc:spChg>
        <pc:spChg chg="mod">
          <ac:chgData name="Müller, Kurt (SI BP S TSS ACD)" userId="e7e82c7e-80c6-42a5-ab71-24588885b7fe" providerId="ADAL" clId="{167FC261-9733-43D8-A9C5-B462733A4DDF}" dt="2021-11-05T09:47:20.130" v="1173" actId="14100"/>
          <ac:spMkLst>
            <pc:docMk/>
            <pc:sldMk cId="1326469617" sldId="2502"/>
            <ac:spMk id="19" creationId="{A445511D-AB73-4FF7-A3B6-93F7C8247A9A}"/>
          </ac:spMkLst>
        </pc:spChg>
        <pc:spChg chg="mod">
          <ac:chgData name="Müller, Kurt (SI BP S TSS ACD)" userId="e7e82c7e-80c6-42a5-ab71-24588885b7fe" providerId="ADAL" clId="{167FC261-9733-43D8-A9C5-B462733A4DDF}" dt="2021-11-05T09:47:09.809" v="1170" actId="1076"/>
          <ac:spMkLst>
            <pc:docMk/>
            <pc:sldMk cId="1326469617" sldId="2502"/>
            <ac:spMk id="20" creationId="{E42C6CA5-5E2A-4F98-9E61-D7B395A177D0}"/>
          </ac:spMkLst>
        </pc:spChg>
        <pc:spChg chg="del">
          <ac:chgData name="Müller, Kurt (SI BP S TSS ACD)" userId="e7e82c7e-80c6-42a5-ab71-24588885b7fe" providerId="ADAL" clId="{167FC261-9733-43D8-A9C5-B462733A4DDF}" dt="2021-11-05T17:55:19.378" v="2748" actId="478"/>
          <ac:spMkLst>
            <pc:docMk/>
            <pc:sldMk cId="1326469617" sldId="2502"/>
            <ac:spMk id="10244" creationId="{5C611FE8-0082-4460-BF69-A95070B9CAEB}"/>
          </ac:spMkLst>
        </pc:spChg>
        <pc:picChg chg="mod">
          <ac:chgData name="Müller, Kurt (SI BP S TSS ACD)" userId="e7e82c7e-80c6-42a5-ab71-24588885b7fe" providerId="ADAL" clId="{167FC261-9733-43D8-A9C5-B462733A4DDF}" dt="2021-11-05T09:47:09.809" v="1170" actId="1076"/>
          <ac:picMkLst>
            <pc:docMk/>
            <pc:sldMk cId="1326469617" sldId="2502"/>
            <ac:picMk id="4" creationId="{94CDB759-4FBE-43AE-85ED-1C52F9E220A9}"/>
          </ac:picMkLst>
        </pc:picChg>
        <pc:picChg chg="mod">
          <ac:chgData name="Müller, Kurt (SI BP S TSS ACD)" userId="e7e82c7e-80c6-42a5-ab71-24588885b7fe" providerId="ADAL" clId="{167FC261-9733-43D8-A9C5-B462733A4DDF}" dt="2021-11-05T09:47:14.746" v="1171" actId="1076"/>
          <ac:picMkLst>
            <pc:docMk/>
            <pc:sldMk cId="1326469617" sldId="2502"/>
            <ac:picMk id="5" creationId="{B887B4AC-3A40-4E26-88F0-390EF985D601}"/>
          </ac:picMkLst>
        </pc:picChg>
      </pc:sldChg>
      <pc:sldChg chg="addSp delSp modSp del mod">
        <pc:chgData name="Müller, Kurt (SI BP S TSS ACD)" userId="e7e82c7e-80c6-42a5-ab71-24588885b7fe" providerId="ADAL" clId="{167FC261-9733-43D8-A9C5-B462733A4DDF}" dt="2021-11-02T10:28:01.887" v="985" actId="47"/>
        <pc:sldMkLst>
          <pc:docMk/>
          <pc:sldMk cId="55984996" sldId="2503"/>
        </pc:sldMkLst>
        <pc:spChg chg="del">
          <ac:chgData name="Müller, Kurt (SI BP S TSS ACD)" userId="e7e82c7e-80c6-42a5-ab71-24588885b7fe" providerId="ADAL" clId="{167FC261-9733-43D8-A9C5-B462733A4DDF}" dt="2021-11-02T10:21:46.364" v="945" actId="478"/>
          <ac:spMkLst>
            <pc:docMk/>
            <pc:sldMk cId="55984996" sldId="2503"/>
            <ac:spMk id="3" creationId="{12D8440B-F5EA-4AA7-85F2-A1EC6B47C172}"/>
          </ac:spMkLst>
        </pc:spChg>
        <pc:spChg chg="del">
          <ac:chgData name="Müller, Kurt (SI BP S TSS ACD)" userId="e7e82c7e-80c6-42a5-ab71-24588885b7fe" providerId="ADAL" clId="{167FC261-9733-43D8-A9C5-B462733A4DDF}" dt="2021-11-02T10:21:42.600" v="944" actId="478"/>
          <ac:spMkLst>
            <pc:docMk/>
            <pc:sldMk cId="55984996" sldId="2503"/>
            <ac:spMk id="7" creationId="{937D1177-4BDD-4A17-BC91-76DD5F5AFC4C}"/>
          </ac:spMkLst>
        </pc:spChg>
        <pc:spChg chg="mod">
          <ac:chgData name="Müller, Kurt (SI BP S TSS ACD)" userId="e7e82c7e-80c6-42a5-ab71-24588885b7fe" providerId="ADAL" clId="{167FC261-9733-43D8-A9C5-B462733A4DDF}" dt="2021-11-02T10:16:58.702" v="919" actId="1076"/>
          <ac:spMkLst>
            <pc:docMk/>
            <pc:sldMk cId="55984996" sldId="2503"/>
            <ac:spMk id="28" creationId="{0E80F07F-4042-402D-AA78-ED4E6DDDE9C0}"/>
          </ac:spMkLst>
        </pc:spChg>
        <pc:grpChg chg="del">
          <ac:chgData name="Müller, Kurt (SI BP S TSS ACD)" userId="e7e82c7e-80c6-42a5-ab71-24588885b7fe" providerId="ADAL" clId="{167FC261-9733-43D8-A9C5-B462733A4DDF}" dt="2021-11-02T10:16:19.752" v="916" actId="478"/>
          <ac:grpSpMkLst>
            <pc:docMk/>
            <pc:sldMk cId="55984996" sldId="2503"/>
            <ac:grpSpMk id="17" creationId="{053E505F-4032-4628-96EE-B152CFA25123}"/>
          </ac:grpSpMkLst>
        </pc:grpChg>
        <pc:picChg chg="mod">
          <ac:chgData name="Müller, Kurt (SI BP S TSS ACD)" userId="e7e82c7e-80c6-42a5-ab71-24588885b7fe" providerId="ADAL" clId="{167FC261-9733-43D8-A9C5-B462733A4DDF}" dt="2021-11-02T10:27:07.327" v="979" actId="1076"/>
          <ac:picMkLst>
            <pc:docMk/>
            <pc:sldMk cId="55984996" sldId="2503"/>
            <ac:picMk id="6" creationId="{6112E28D-1D4F-4145-91CD-FF1949D1BA62}"/>
          </ac:picMkLst>
        </pc:picChg>
        <pc:picChg chg="del mod">
          <ac:chgData name="Müller, Kurt (SI BP S TSS ACD)" userId="e7e82c7e-80c6-42a5-ab71-24588885b7fe" providerId="ADAL" clId="{167FC261-9733-43D8-A9C5-B462733A4DDF}" dt="2021-11-02T10:20:04.137" v="936" actId="478"/>
          <ac:picMkLst>
            <pc:docMk/>
            <pc:sldMk cId="55984996" sldId="2503"/>
            <ac:picMk id="13" creationId="{93B839A2-5859-4CE3-BFBF-A5189E95A6B5}"/>
          </ac:picMkLst>
        </pc:picChg>
        <pc:picChg chg="mod">
          <ac:chgData name="Müller, Kurt (SI BP S TSS ACD)" userId="e7e82c7e-80c6-42a5-ab71-24588885b7fe" providerId="ADAL" clId="{167FC261-9733-43D8-A9C5-B462733A4DDF}" dt="2021-11-02T10:27:09.251" v="980" actId="1076"/>
          <ac:picMkLst>
            <pc:docMk/>
            <pc:sldMk cId="55984996" sldId="2503"/>
            <ac:picMk id="21" creationId="{001B6050-3586-4046-AC81-1FBAB76E1A6C}"/>
          </ac:picMkLst>
        </pc:picChg>
        <pc:picChg chg="add mod">
          <ac:chgData name="Müller, Kurt (SI BP S TSS ACD)" userId="e7e82c7e-80c6-42a5-ab71-24588885b7fe" providerId="ADAL" clId="{167FC261-9733-43D8-A9C5-B462733A4DDF}" dt="2021-11-02T10:27:18.882" v="981" actId="1076"/>
          <ac:picMkLst>
            <pc:docMk/>
            <pc:sldMk cId="55984996" sldId="2503"/>
            <ac:picMk id="22" creationId="{BAC37043-353E-46F2-B4F7-02AF43801953}"/>
          </ac:picMkLst>
        </pc:picChg>
        <pc:picChg chg="add mod">
          <ac:chgData name="Müller, Kurt (SI BP S TSS ACD)" userId="e7e82c7e-80c6-42a5-ab71-24588885b7fe" providerId="ADAL" clId="{167FC261-9733-43D8-A9C5-B462733A4DDF}" dt="2021-11-02T10:20:43.667" v="939" actId="1076"/>
          <ac:picMkLst>
            <pc:docMk/>
            <pc:sldMk cId="55984996" sldId="2503"/>
            <ac:picMk id="2050" creationId="{39D9EF20-C7C4-4EB6-A288-15656238AB21}"/>
          </ac:picMkLst>
        </pc:picChg>
      </pc:sldChg>
      <pc:sldChg chg="addSp delSp modSp mod">
        <pc:chgData name="Müller, Kurt (SI BP S TSS ACD)" userId="e7e82c7e-80c6-42a5-ab71-24588885b7fe" providerId="ADAL" clId="{167FC261-9733-43D8-A9C5-B462733A4DDF}" dt="2021-11-05T17:55:40.711" v="2750" actId="478"/>
        <pc:sldMkLst>
          <pc:docMk/>
          <pc:sldMk cId="3365061032" sldId="2504"/>
        </pc:sldMkLst>
        <pc:spChg chg="add mod">
          <ac:chgData name="Müller, Kurt (SI BP S TSS ACD)" userId="e7e82c7e-80c6-42a5-ab71-24588885b7fe" providerId="ADAL" clId="{167FC261-9733-43D8-A9C5-B462733A4DDF}" dt="2021-11-05T17:50:37.608" v="2724" actId="1037"/>
          <ac:spMkLst>
            <pc:docMk/>
            <pc:sldMk cId="3365061032" sldId="2504"/>
            <ac:spMk id="6" creationId="{ACFE5366-A421-4449-A79D-356CF320F495}"/>
          </ac:spMkLst>
        </pc:spChg>
        <pc:spChg chg="del">
          <ac:chgData name="Müller, Kurt (SI BP S TSS ACD)" userId="e7e82c7e-80c6-42a5-ab71-24588885b7fe" providerId="ADAL" clId="{167FC261-9733-43D8-A9C5-B462733A4DDF}" dt="2021-11-02T10:23:38.897" v="956" actId="478"/>
          <ac:spMkLst>
            <pc:docMk/>
            <pc:sldMk cId="3365061032" sldId="2504"/>
            <ac:spMk id="7" creationId="{A6C47527-A781-4BF8-89B8-39B6DB273D73}"/>
          </ac:spMkLst>
        </pc:spChg>
        <pc:spChg chg="add mod">
          <ac:chgData name="Müller, Kurt (SI BP S TSS ACD)" userId="e7e82c7e-80c6-42a5-ab71-24588885b7fe" providerId="ADAL" clId="{167FC261-9733-43D8-A9C5-B462733A4DDF}" dt="2021-11-05T17:51:34.580" v="2732" actId="208"/>
          <ac:spMkLst>
            <pc:docMk/>
            <pc:sldMk cId="3365061032" sldId="2504"/>
            <ac:spMk id="13" creationId="{9EC16153-052D-42B5-9FD3-40F27A8E5BC0}"/>
          </ac:spMkLst>
        </pc:spChg>
        <pc:spChg chg="mod">
          <ac:chgData name="Müller, Kurt (SI BP S TSS ACD)" userId="e7e82c7e-80c6-42a5-ab71-24588885b7fe" providerId="ADAL" clId="{167FC261-9733-43D8-A9C5-B462733A4DDF}" dt="2021-11-05T17:53:55.869" v="2742" actId="6549"/>
          <ac:spMkLst>
            <pc:docMk/>
            <pc:sldMk cId="3365061032" sldId="2504"/>
            <ac:spMk id="28" creationId="{0E80F07F-4042-402D-AA78-ED4E6DDDE9C0}"/>
          </ac:spMkLst>
        </pc:spChg>
        <pc:spChg chg="del">
          <ac:chgData name="Müller, Kurt (SI BP S TSS ACD)" userId="e7e82c7e-80c6-42a5-ab71-24588885b7fe" providerId="ADAL" clId="{167FC261-9733-43D8-A9C5-B462733A4DDF}" dt="2021-11-05T17:55:40.711" v="2750" actId="478"/>
          <ac:spMkLst>
            <pc:docMk/>
            <pc:sldMk cId="3365061032" sldId="2504"/>
            <ac:spMk id="10244" creationId="{5C611FE8-0082-4460-BF69-A95070B9CAEB}"/>
          </ac:spMkLst>
        </pc:spChg>
        <pc:picChg chg="add del mod modCrop">
          <ac:chgData name="Müller, Kurt (SI BP S TSS ACD)" userId="e7e82c7e-80c6-42a5-ab71-24588885b7fe" providerId="ADAL" clId="{167FC261-9733-43D8-A9C5-B462733A4DDF}" dt="2021-11-02T10:24:38.948" v="964" actId="478"/>
          <ac:picMkLst>
            <pc:docMk/>
            <pc:sldMk cId="3365061032" sldId="2504"/>
            <ac:picMk id="3" creationId="{6F0274A4-96A3-4261-BA28-DFDE77FEC163}"/>
          </ac:picMkLst>
        </pc:picChg>
        <pc:picChg chg="add mod">
          <ac:chgData name="Müller, Kurt (SI BP S TSS ACD)" userId="e7e82c7e-80c6-42a5-ab71-24588885b7fe" providerId="ADAL" clId="{167FC261-9733-43D8-A9C5-B462733A4DDF}" dt="2021-11-02T10:26:10.323" v="973" actId="14100"/>
          <ac:picMkLst>
            <pc:docMk/>
            <pc:sldMk cId="3365061032" sldId="2504"/>
            <ac:picMk id="5" creationId="{C42982FC-B81C-4034-8844-9D9539BE385E}"/>
          </ac:picMkLst>
        </pc:picChg>
        <pc:picChg chg="add del mod">
          <ac:chgData name="Müller, Kurt (SI BP S TSS ACD)" userId="e7e82c7e-80c6-42a5-ab71-24588885b7fe" providerId="ADAL" clId="{167FC261-9733-43D8-A9C5-B462733A4DDF}" dt="2021-11-05T17:53:02.973" v="2734" actId="478"/>
          <ac:picMkLst>
            <pc:docMk/>
            <pc:sldMk cId="3365061032" sldId="2504"/>
            <ac:picMk id="9" creationId="{C2B6A553-9240-4C11-BC71-4F8BBB5D6375}"/>
          </ac:picMkLst>
        </pc:picChg>
        <pc:picChg chg="add mod">
          <ac:chgData name="Müller, Kurt (SI BP S TSS ACD)" userId="e7e82c7e-80c6-42a5-ab71-24588885b7fe" providerId="ADAL" clId="{167FC261-9733-43D8-A9C5-B462733A4DDF}" dt="2021-11-05T17:51:28.930" v="2731" actId="1076"/>
          <ac:picMkLst>
            <pc:docMk/>
            <pc:sldMk cId="3365061032" sldId="2504"/>
            <ac:picMk id="12" creationId="{37F8A821-EF53-4042-8F2B-10502A898F40}"/>
          </ac:picMkLst>
        </pc:picChg>
        <pc:picChg chg="add mod">
          <ac:chgData name="Müller, Kurt (SI BP S TSS ACD)" userId="e7e82c7e-80c6-42a5-ab71-24588885b7fe" providerId="ADAL" clId="{167FC261-9733-43D8-A9C5-B462733A4DDF}" dt="2021-11-05T17:53:18.304" v="2740" actId="1076"/>
          <ac:picMkLst>
            <pc:docMk/>
            <pc:sldMk cId="3365061032" sldId="2504"/>
            <ac:picMk id="15" creationId="{AE65D951-3452-4586-A27C-0CE8042580C4}"/>
          </ac:picMkLst>
        </pc:picChg>
      </pc:sldChg>
      <pc:sldChg chg="addSp delSp modSp mod ord modShow">
        <pc:chgData name="Müller, Kurt (SI BP S TSS ACD)" userId="e7e82c7e-80c6-42a5-ab71-24588885b7fe" providerId="ADAL" clId="{167FC261-9733-43D8-A9C5-B462733A4DDF}" dt="2021-11-05T15:06:59.295" v="2360"/>
        <pc:sldMkLst>
          <pc:docMk/>
          <pc:sldMk cId="3944122184" sldId="2505"/>
        </pc:sldMkLst>
        <pc:spChg chg="add del mod">
          <ac:chgData name="Müller, Kurt (SI BP S TSS ACD)" userId="e7e82c7e-80c6-42a5-ab71-24588885b7fe" providerId="ADAL" clId="{167FC261-9733-43D8-A9C5-B462733A4DDF}" dt="2021-10-19T09:20:33.777" v="377" actId="478"/>
          <ac:spMkLst>
            <pc:docMk/>
            <pc:sldMk cId="3944122184" sldId="2505"/>
            <ac:spMk id="21" creationId="{A08EB292-4000-463C-AE25-13BCC24FA730}"/>
          </ac:spMkLst>
        </pc:spChg>
        <pc:spChg chg="add mod">
          <ac:chgData name="Müller, Kurt (SI BP S TSS ACD)" userId="e7e82c7e-80c6-42a5-ab71-24588885b7fe" providerId="ADAL" clId="{167FC261-9733-43D8-A9C5-B462733A4DDF}" dt="2021-10-19T09:24:50.395" v="445" actId="20577"/>
          <ac:spMkLst>
            <pc:docMk/>
            <pc:sldMk cId="3944122184" sldId="2505"/>
            <ac:spMk id="25" creationId="{9E350A98-57D8-4A29-87BB-DA4E91A5D743}"/>
          </ac:spMkLst>
        </pc:spChg>
        <pc:spChg chg="mod">
          <ac:chgData name="Müller, Kurt (SI BP S TSS ACD)" userId="e7e82c7e-80c6-42a5-ab71-24588885b7fe" providerId="ADAL" clId="{167FC261-9733-43D8-A9C5-B462733A4DDF}" dt="2021-10-19T09:17:15.753" v="312" actId="1076"/>
          <ac:spMkLst>
            <pc:docMk/>
            <pc:sldMk cId="3944122184" sldId="2505"/>
            <ac:spMk id="31" creationId="{69426052-8C34-4070-A649-B01801B08EFA}"/>
          </ac:spMkLst>
        </pc:spChg>
        <pc:spChg chg="mod">
          <ac:chgData name="Müller, Kurt (SI BP S TSS ACD)" userId="e7e82c7e-80c6-42a5-ab71-24588885b7fe" providerId="ADAL" clId="{167FC261-9733-43D8-A9C5-B462733A4DDF}" dt="2021-10-19T09:23:04.267" v="387" actId="6549"/>
          <ac:spMkLst>
            <pc:docMk/>
            <pc:sldMk cId="3944122184" sldId="2505"/>
            <ac:spMk id="42" creationId="{93A5E011-CEF2-42B8-8323-CBD3EBDDFAEA}"/>
          </ac:spMkLst>
        </pc:spChg>
        <pc:spChg chg="mod">
          <ac:chgData name="Müller, Kurt (SI BP S TSS ACD)" userId="e7e82c7e-80c6-42a5-ab71-24588885b7fe" providerId="ADAL" clId="{167FC261-9733-43D8-A9C5-B462733A4DDF}" dt="2021-10-19T09:18:04.847" v="326" actId="20577"/>
          <ac:spMkLst>
            <pc:docMk/>
            <pc:sldMk cId="3944122184" sldId="2505"/>
            <ac:spMk id="43" creationId="{8EF7824E-B815-43BB-A1EE-0062E6A23366}"/>
          </ac:spMkLst>
        </pc:spChg>
        <pc:spChg chg="mod">
          <ac:chgData name="Müller, Kurt (SI BP S TSS ACD)" userId="e7e82c7e-80c6-42a5-ab71-24588885b7fe" providerId="ADAL" clId="{167FC261-9733-43D8-A9C5-B462733A4DDF}" dt="2021-10-19T09:24:29.524" v="441" actId="1076"/>
          <ac:spMkLst>
            <pc:docMk/>
            <pc:sldMk cId="3944122184" sldId="2505"/>
            <ac:spMk id="51" creationId="{492B468C-641C-4CC5-91B8-07718B51673F}"/>
          </ac:spMkLst>
        </pc:spChg>
        <pc:picChg chg="add mod">
          <ac:chgData name="Müller, Kurt (SI BP S TSS ACD)" userId="e7e82c7e-80c6-42a5-ab71-24588885b7fe" providerId="ADAL" clId="{167FC261-9733-43D8-A9C5-B462733A4DDF}" dt="2021-11-02T09:24:26.044" v="729" actId="1076"/>
          <ac:picMkLst>
            <pc:docMk/>
            <pc:sldMk cId="3944122184" sldId="2505"/>
            <ac:picMk id="3" creationId="{3524490B-E58E-4A4A-8843-73EEB69E9E13}"/>
          </ac:picMkLst>
        </pc:picChg>
        <pc:picChg chg="del">
          <ac:chgData name="Müller, Kurt (SI BP S TSS ACD)" userId="e7e82c7e-80c6-42a5-ab71-24588885b7fe" providerId="ADAL" clId="{167FC261-9733-43D8-A9C5-B462733A4DDF}" dt="2021-10-19T09:17:01.089" v="280" actId="478"/>
          <ac:picMkLst>
            <pc:docMk/>
            <pc:sldMk cId="3944122184" sldId="2505"/>
            <ac:picMk id="7" creationId="{0E165EF4-E01E-40E7-A654-3855D292C061}"/>
          </ac:picMkLst>
        </pc:picChg>
        <pc:picChg chg="mod">
          <ac:chgData name="Müller, Kurt (SI BP S TSS ACD)" userId="e7e82c7e-80c6-42a5-ab71-24588885b7fe" providerId="ADAL" clId="{167FC261-9733-43D8-A9C5-B462733A4DDF}" dt="2021-10-19T09:13:41.329" v="191" actId="1076"/>
          <ac:picMkLst>
            <pc:docMk/>
            <pc:sldMk cId="3944122184" sldId="2505"/>
            <ac:picMk id="41" creationId="{542B8FB7-8112-4384-8B81-0E7528ACF1F1}"/>
          </ac:picMkLst>
        </pc:picChg>
        <pc:picChg chg="mod">
          <ac:chgData name="Müller, Kurt (SI BP S TSS ACD)" userId="e7e82c7e-80c6-42a5-ab71-24588885b7fe" providerId="ADAL" clId="{167FC261-9733-43D8-A9C5-B462733A4DDF}" dt="2021-10-19T09:21:56.305" v="381" actId="14100"/>
          <ac:picMkLst>
            <pc:docMk/>
            <pc:sldMk cId="3944122184" sldId="2505"/>
            <ac:picMk id="48" creationId="{4BC9F920-1293-4ED0-BE1C-D662C9BF6BB9}"/>
          </ac:picMkLst>
        </pc:picChg>
        <pc:picChg chg="mod">
          <ac:chgData name="Müller, Kurt (SI BP S TSS ACD)" userId="e7e82c7e-80c6-42a5-ab71-24588885b7fe" providerId="ADAL" clId="{167FC261-9733-43D8-A9C5-B462733A4DDF}" dt="2021-10-19T09:17:59.044" v="324" actId="1076"/>
          <ac:picMkLst>
            <pc:docMk/>
            <pc:sldMk cId="3944122184" sldId="2505"/>
            <ac:picMk id="49" creationId="{034EF5D7-4B8D-4414-85D0-1C84328F389D}"/>
          </ac:picMkLst>
        </pc:picChg>
        <pc:picChg chg="add mod">
          <ac:chgData name="Müller, Kurt (SI BP S TSS ACD)" userId="e7e82c7e-80c6-42a5-ab71-24588885b7fe" providerId="ADAL" clId="{167FC261-9733-43D8-A9C5-B462733A4DDF}" dt="2021-10-19T09:17:12.441" v="311" actId="14100"/>
          <ac:picMkLst>
            <pc:docMk/>
            <pc:sldMk cId="3944122184" sldId="2505"/>
            <ac:picMk id="1026" creationId="{7B19C964-D8AB-4084-91D1-4411BCA962DE}"/>
          </ac:picMkLst>
        </pc:picChg>
        <pc:picChg chg="add del">
          <ac:chgData name="Müller, Kurt (SI BP S TSS ACD)" userId="e7e82c7e-80c6-42a5-ab71-24588885b7fe" providerId="ADAL" clId="{167FC261-9733-43D8-A9C5-B462733A4DDF}" dt="2021-10-19T09:20:33.777" v="377" actId="478"/>
          <ac:picMkLst>
            <pc:docMk/>
            <pc:sldMk cId="3944122184" sldId="2505"/>
            <ac:picMk id="1028" creationId="{829CDFD3-B062-49C9-AF4A-7A8F6D087C4B}"/>
          </ac:picMkLst>
        </pc:picChg>
      </pc:sldChg>
      <pc:sldChg chg="delSp modSp mod">
        <pc:chgData name="Müller, Kurt (SI BP S TSS ACD)" userId="e7e82c7e-80c6-42a5-ab71-24588885b7fe" providerId="ADAL" clId="{167FC261-9733-43D8-A9C5-B462733A4DDF}" dt="2021-11-05T17:55:44.759" v="2751" actId="478"/>
        <pc:sldMkLst>
          <pc:docMk/>
          <pc:sldMk cId="2176441571" sldId="2507"/>
        </pc:sldMkLst>
        <pc:spChg chg="mod">
          <ac:chgData name="Müller, Kurt (SI BP S TSS ACD)" userId="e7e82c7e-80c6-42a5-ab71-24588885b7fe" providerId="ADAL" clId="{167FC261-9733-43D8-A9C5-B462733A4DDF}" dt="2021-11-05T17:54:32.866" v="2745" actId="11"/>
          <ac:spMkLst>
            <pc:docMk/>
            <pc:sldMk cId="2176441571" sldId="2507"/>
            <ac:spMk id="28" creationId="{0E80F07F-4042-402D-AA78-ED4E6DDDE9C0}"/>
          </ac:spMkLst>
        </pc:spChg>
        <pc:spChg chg="del">
          <ac:chgData name="Müller, Kurt (SI BP S TSS ACD)" userId="e7e82c7e-80c6-42a5-ab71-24588885b7fe" providerId="ADAL" clId="{167FC261-9733-43D8-A9C5-B462733A4DDF}" dt="2021-11-05T17:55:44.759" v="2751" actId="478"/>
          <ac:spMkLst>
            <pc:docMk/>
            <pc:sldMk cId="2176441571" sldId="2507"/>
            <ac:spMk id="10244" creationId="{5C611FE8-0082-4460-BF69-A95070B9CAEB}"/>
          </ac:spMkLst>
        </pc:spChg>
        <pc:picChg chg="del mod">
          <ac:chgData name="Müller, Kurt (SI BP S TSS ACD)" userId="e7e82c7e-80c6-42a5-ab71-24588885b7fe" providerId="ADAL" clId="{167FC261-9733-43D8-A9C5-B462733A4DDF}" dt="2021-11-02T10:33:25.215" v="1081" actId="478"/>
          <ac:picMkLst>
            <pc:docMk/>
            <pc:sldMk cId="2176441571" sldId="2507"/>
            <ac:picMk id="2050" creationId="{22F4D81C-0204-440B-AE3C-D15B06B8D997}"/>
          </ac:picMkLst>
        </pc:picChg>
        <pc:picChg chg="mod">
          <ac:chgData name="Müller, Kurt (SI BP S TSS ACD)" userId="e7e82c7e-80c6-42a5-ab71-24588885b7fe" providerId="ADAL" clId="{167FC261-9733-43D8-A9C5-B462733A4DDF}" dt="2021-11-05T17:54:46.951" v="2746" actId="1076"/>
          <ac:picMkLst>
            <pc:docMk/>
            <pc:sldMk cId="2176441571" sldId="2507"/>
            <ac:picMk id="2052" creationId="{A8A31189-A362-49D6-9F70-9444227F85BC}"/>
          </ac:picMkLst>
        </pc:picChg>
      </pc:sldChg>
      <pc:sldChg chg="addSp delSp modSp mod ord">
        <pc:chgData name="Müller, Kurt (SI BP S TSS ACD)" userId="e7e82c7e-80c6-42a5-ab71-24588885b7fe" providerId="ADAL" clId="{167FC261-9733-43D8-A9C5-B462733A4DDF}" dt="2021-11-05T17:49:18.969" v="2709" actId="1038"/>
        <pc:sldMkLst>
          <pc:docMk/>
          <pc:sldMk cId="1419230258" sldId="2510"/>
        </pc:sldMkLst>
        <pc:spChg chg="del mod">
          <ac:chgData name="Müller, Kurt (SI BP S TSS ACD)" userId="e7e82c7e-80c6-42a5-ab71-24588885b7fe" providerId="ADAL" clId="{167FC261-9733-43D8-A9C5-B462733A4DDF}" dt="2021-11-05T15:11:43.119" v="2402" actId="478"/>
          <ac:spMkLst>
            <pc:docMk/>
            <pc:sldMk cId="1419230258" sldId="2510"/>
            <ac:spMk id="6" creationId="{CE475B5A-824F-407D-B010-5E5B45D89E6B}"/>
          </ac:spMkLst>
        </pc:spChg>
        <pc:spChg chg="add del mod">
          <ac:chgData name="Müller, Kurt (SI BP S TSS ACD)" userId="e7e82c7e-80c6-42a5-ab71-24588885b7fe" providerId="ADAL" clId="{167FC261-9733-43D8-A9C5-B462733A4DDF}" dt="2021-11-05T15:11:43.119" v="2402" actId="478"/>
          <ac:spMkLst>
            <pc:docMk/>
            <pc:sldMk cId="1419230258" sldId="2510"/>
            <ac:spMk id="32" creationId="{7D5D708D-4826-49EF-A2E5-C6BF73A63807}"/>
          </ac:spMkLst>
        </pc:spChg>
        <pc:spChg chg="add del mod">
          <ac:chgData name="Müller, Kurt (SI BP S TSS ACD)" userId="e7e82c7e-80c6-42a5-ab71-24588885b7fe" providerId="ADAL" clId="{167FC261-9733-43D8-A9C5-B462733A4DDF}" dt="2021-11-05T15:11:43.119" v="2402" actId="478"/>
          <ac:spMkLst>
            <pc:docMk/>
            <pc:sldMk cId="1419230258" sldId="2510"/>
            <ac:spMk id="35" creationId="{E11662F6-A4F9-48D6-893C-C0925893F19E}"/>
          </ac:spMkLst>
        </pc:spChg>
        <pc:spChg chg="add del mod">
          <ac:chgData name="Müller, Kurt (SI BP S TSS ACD)" userId="e7e82c7e-80c6-42a5-ab71-24588885b7fe" providerId="ADAL" clId="{167FC261-9733-43D8-A9C5-B462733A4DDF}" dt="2021-11-05T15:11:43.119" v="2402" actId="478"/>
          <ac:spMkLst>
            <pc:docMk/>
            <pc:sldMk cId="1419230258" sldId="2510"/>
            <ac:spMk id="39" creationId="{D8A93A2A-852E-4BE0-A14C-0424F2CECA03}"/>
          </ac:spMkLst>
        </pc:spChg>
        <pc:spChg chg="add del mod">
          <ac:chgData name="Müller, Kurt (SI BP S TSS ACD)" userId="e7e82c7e-80c6-42a5-ab71-24588885b7fe" providerId="ADAL" clId="{167FC261-9733-43D8-A9C5-B462733A4DDF}" dt="2021-11-05T15:11:43.119" v="2402" actId="478"/>
          <ac:spMkLst>
            <pc:docMk/>
            <pc:sldMk cId="1419230258" sldId="2510"/>
            <ac:spMk id="40" creationId="{80AD5E00-1F1B-4449-8B7B-D330FA3ACED8}"/>
          </ac:spMkLst>
        </pc:spChg>
        <pc:spChg chg="del">
          <ac:chgData name="Müller, Kurt (SI BP S TSS ACD)" userId="e7e82c7e-80c6-42a5-ab71-24588885b7fe" providerId="ADAL" clId="{167FC261-9733-43D8-A9C5-B462733A4DDF}" dt="2021-11-05T15:11:43.119" v="2402" actId="478"/>
          <ac:spMkLst>
            <pc:docMk/>
            <pc:sldMk cId="1419230258" sldId="2510"/>
            <ac:spMk id="42" creationId="{9DC30CDE-A632-4DC9-B097-521C16ABF36C}"/>
          </ac:spMkLst>
        </pc:spChg>
        <pc:spChg chg="mod">
          <ac:chgData name="Müller, Kurt (SI BP S TSS ACD)" userId="e7e82c7e-80c6-42a5-ab71-24588885b7fe" providerId="ADAL" clId="{167FC261-9733-43D8-A9C5-B462733A4DDF}" dt="2021-11-05T15:12:25.288" v="2417" actId="20577"/>
          <ac:spMkLst>
            <pc:docMk/>
            <pc:sldMk cId="1419230258" sldId="2510"/>
            <ac:spMk id="43" creationId="{C6E54D6C-C479-46C9-BD1C-06EFA0E2F6CB}"/>
          </ac:spMkLst>
        </pc:spChg>
        <pc:spChg chg="del">
          <ac:chgData name="Müller, Kurt (SI BP S TSS ACD)" userId="e7e82c7e-80c6-42a5-ab71-24588885b7fe" providerId="ADAL" clId="{167FC261-9733-43D8-A9C5-B462733A4DDF}" dt="2021-11-05T15:11:43.119" v="2402" actId="478"/>
          <ac:spMkLst>
            <pc:docMk/>
            <pc:sldMk cId="1419230258" sldId="2510"/>
            <ac:spMk id="44" creationId="{1410FC1A-4E5E-404E-AEC7-57FD30C36D45}"/>
          </ac:spMkLst>
        </pc:spChg>
        <pc:spChg chg="add del mod">
          <ac:chgData name="Müller, Kurt (SI BP S TSS ACD)" userId="e7e82c7e-80c6-42a5-ab71-24588885b7fe" providerId="ADAL" clId="{167FC261-9733-43D8-A9C5-B462733A4DDF}" dt="2021-11-05T15:12:37.720" v="2420" actId="478"/>
          <ac:spMkLst>
            <pc:docMk/>
            <pc:sldMk cId="1419230258" sldId="2510"/>
            <ac:spMk id="46" creationId="{255315DF-4EE0-471C-83CF-C6E156217293}"/>
          </ac:spMkLst>
        </pc:spChg>
        <pc:spChg chg="add mod">
          <ac:chgData name="Müller, Kurt (SI BP S TSS ACD)" userId="e7e82c7e-80c6-42a5-ab71-24588885b7fe" providerId="ADAL" clId="{167FC261-9733-43D8-A9C5-B462733A4DDF}" dt="2021-11-05T15:12:53.155" v="2424" actId="1076"/>
          <ac:spMkLst>
            <pc:docMk/>
            <pc:sldMk cId="1419230258" sldId="2510"/>
            <ac:spMk id="47" creationId="{CCA8C1C1-157E-40DC-AE04-549E4202EC99}"/>
          </ac:spMkLst>
        </pc:spChg>
        <pc:spChg chg="add del mod">
          <ac:chgData name="Müller, Kurt (SI BP S TSS ACD)" userId="e7e82c7e-80c6-42a5-ab71-24588885b7fe" providerId="ADAL" clId="{167FC261-9733-43D8-A9C5-B462733A4DDF}" dt="2021-11-05T17:49:09.194" v="2699" actId="478"/>
          <ac:spMkLst>
            <pc:docMk/>
            <pc:sldMk cId="1419230258" sldId="2510"/>
            <ac:spMk id="48" creationId="{D2178B13-6D0E-4F58-AFEE-54922847898E}"/>
          </ac:spMkLst>
        </pc:spChg>
        <pc:spChg chg="add mod">
          <ac:chgData name="Müller, Kurt (SI BP S TSS ACD)" userId="e7e82c7e-80c6-42a5-ab71-24588885b7fe" providerId="ADAL" clId="{167FC261-9733-43D8-A9C5-B462733A4DDF}" dt="2021-11-05T15:13:45.490" v="2453" actId="1076"/>
          <ac:spMkLst>
            <pc:docMk/>
            <pc:sldMk cId="1419230258" sldId="2510"/>
            <ac:spMk id="49" creationId="{6DB0BAC4-DF3C-43A3-8524-FD9843A2F192}"/>
          </ac:spMkLst>
        </pc:spChg>
        <pc:spChg chg="mod topLvl">
          <ac:chgData name="Müller, Kurt (SI BP S TSS ACD)" userId="e7e82c7e-80c6-42a5-ab71-24588885b7fe" providerId="ADAL" clId="{167FC261-9733-43D8-A9C5-B462733A4DDF}" dt="2021-11-05T17:49:18.969" v="2709" actId="1038"/>
          <ac:spMkLst>
            <pc:docMk/>
            <pc:sldMk cId="1419230258" sldId="2510"/>
            <ac:spMk id="53" creationId="{41292529-9D93-4325-B311-0AF7804415B9}"/>
          </ac:spMkLst>
        </pc:spChg>
        <pc:spChg chg="del">
          <ac:chgData name="Müller, Kurt (SI BP S TSS ACD)" userId="e7e82c7e-80c6-42a5-ab71-24588885b7fe" providerId="ADAL" clId="{167FC261-9733-43D8-A9C5-B462733A4DDF}" dt="2021-11-05T15:11:43.119" v="2402" actId="478"/>
          <ac:spMkLst>
            <pc:docMk/>
            <pc:sldMk cId="1419230258" sldId="2510"/>
            <ac:spMk id="59" creationId="{87AB1B76-ECD4-4B0B-BA6E-B68E55034277}"/>
          </ac:spMkLst>
        </pc:spChg>
        <pc:spChg chg="del">
          <ac:chgData name="Müller, Kurt (SI BP S TSS ACD)" userId="e7e82c7e-80c6-42a5-ab71-24588885b7fe" providerId="ADAL" clId="{167FC261-9733-43D8-A9C5-B462733A4DDF}" dt="2021-11-05T15:11:43.119" v="2402" actId="478"/>
          <ac:spMkLst>
            <pc:docMk/>
            <pc:sldMk cId="1419230258" sldId="2510"/>
            <ac:spMk id="60" creationId="{A32A6BC7-9034-48C5-A9B2-87EB8D53E4D0}"/>
          </ac:spMkLst>
        </pc:spChg>
        <pc:spChg chg="del">
          <ac:chgData name="Müller, Kurt (SI BP S TSS ACD)" userId="e7e82c7e-80c6-42a5-ab71-24588885b7fe" providerId="ADAL" clId="{167FC261-9733-43D8-A9C5-B462733A4DDF}" dt="2021-11-05T15:11:43.119" v="2402" actId="478"/>
          <ac:spMkLst>
            <pc:docMk/>
            <pc:sldMk cId="1419230258" sldId="2510"/>
            <ac:spMk id="61" creationId="{D8B15544-50A0-4B09-9DCD-3D584BF6DDF7}"/>
          </ac:spMkLst>
        </pc:spChg>
        <pc:spChg chg="del mod">
          <ac:chgData name="Müller, Kurt (SI BP S TSS ACD)" userId="e7e82c7e-80c6-42a5-ab71-24588885b7fe" providerId="ADAL" clId="{167FC261-9733-43D8-A9C5-B462733A4DDF}" dt="2021-11-05T15:11:43.119" v="2402" actId="478"/>
          <ac:spMkLst>
            <pc:docMk/>
            <pc:sldMk cId="1419230258" sldId="2510"/>
            <ac:spMk id="62" creationId="{DCC4F5FC-28B6-4AD9-BCDD-22273C7D0AF4}"/>
          </ac:spMkLst>
        </pc:spChg>
        <pc:spChg chg="del mod">
          <ac:chgData name="Müller, Kurt (SI BP S TSS ACD)" userId="e7e82c7e-80c6-42a5-ab71-24588885b7fe" providerId="ADAL" clId="{167FC261-9733-43D8-A9C5-B462733A4DDF}" dt="2021-11-05T15:11:43.119" v="2402" actId="478"/>
          <ac:spMkLst>
            <pc:docMk/>
            <pc:sldMk cId="1419230258" sldId="2510"/>
            <ac:spMk id="63" creationId="{188857FE-D1D1-43E3-8477-830B2D496D74}"/>
          </ac:spMkLst>
        </pc:spChg>
        <pc:spChg chg="del mod">
          <ac:chgData name="Müller, Kurt (SI BP S TSS ACD)" userId="e7e82c7e-80c6-42a5-ab71-24588885b7fe" providerId="ADAL" clId="{167FC261-9733-43D8-A9C5-B462733A4DDF}" dt="2021-11-05T15:11:43.119" v="2402" actId="478"/>
          <ac:spMkLst>
            <pc:docMk/>
            <pc:sldMk cId="1419230258" sldId="2510"/>
            <ac:spMk id="64" creationId="{EF5A2B92-7F16-4273-A3C9-1F4FAD5F3C35}"/>
          </ac:spMkLst>
        </pc:spChg>
        <pc:spChg chg="del mod">
          <ac:chgData name="Müller, Kurt (SI BP S TSS ACD)" userId="e7e82c7e-80c6-42a5-ab71-24588885b7fe" providerId="ADAL" clId="{167FC261-9733-43D8-A9C5-B462733A4DDF}" dt="2021-11-05T15:11:43.119" v="2402" actId="478"/>
          <ac:spMkLst>
            <pc:docMk/>
            <pc:sldMk cId="1419230258" sldId="2510"/>
            <ac:spMk id="68" creationId="{81DEFBD9-996F-4744-9D19-87C302DBDDD6}"/>
          </ac:spMkLst>
        </pc:spChg>
        <pc:spChg chg="del mod">
          <ac:chgData name="Müller, Kurt (SI BP S TSS ACD)" userId="e7e82c7e-80c6-42a5-ab71-24588885b7fe" providerId="ADAL" clId="{167FC261-9733-43D8-A9C5-B462733A4DDF}" dt="2021-11-05T15:11:43.119" v="2402" actId="478"/>
          <ac:spMkLst>
            <pc:docMk/>
            <pc:sldMk cId="1419230258" sldId="2510"/>
            <ac:spMk id="69" creationId="{08D66FE7-E0AA-4881-93C2-CD9D62BA5D27}"/>
          </ac:spMkLst>
        </pc:spChg>
        <pc:spChg chg="del">
          <ac:chgData name="Müller, Kurt (SI BP S TSS ACD)" userId="e7e82c7e-80c6-42a5-ab71-24588885b7fe" providerId="ADAL" clId="{167FC261-9733-43D8-A9C5-B462733A4DDF}" dt="2021-11-02T09:31:15.777" v="732" actId="478"/>
          <ac:spMkLst>
            <pc:docMk/>
            <pc:sldMk cId="1419230258" sldId="2510"/>
            <ac:spMk id="72" creationId="{268B81EE-9301-4E2E-B8B6-69E0641C73D8}"/>
          </ac:spMkLst>
        </pc:spChg>
        <pc:spChg chg="del">
          <ac:chgData name="Müller, Kurt (SI BP S TSS ACD)" userId="e7e82c7e-80c6-42a5-ab71-24588885b7fe" providerId="ADAL" clId="{167FC261-9733-43D8-A9C5-B462733A4DDF}" dt="2021-11-05T15:11:43.119" v="2402" actId="478"/>
          <ac:spMkLst>
            <pc:docMk/>
            <pc:sldMk cId="1419230258" sldId="2510"/>
            <ac:spMk id="79" creationId="{B6A23980-07F1-43FF-821E-C1BFC7D1E2E1}"/>
          </ac:spMkLst>
        </pc:spChg>
        <pc:spChg chg="del mod">
          <ac:chgData name="Müller, Kurt (SI BP S TSS ACD)" userId="e7e82c7e-80c6-42a5-ab71-24588885b7fe" providerId="ADAL" clId="{167FC261-9733-43D8-A9C5-B462733A4DDF}" dt="2021-11-05T15:11:43.119" v="2402" actId="478"/>
          <ac:spMkLst>
            <pc:docMk/>
            <pc:sldMk cId="1419230258" sldId="2510"/>
            <ac:spMk id="82" creationId="{CF7F1FEA-5F0A-4828-AB1A-3520C37CE0AE}"/>
          </ac:spMkLst>
        </pc:spChg>
        <pc:spChg chg="del mod">
          <ac:chgData name="Müller, Kurt (SI BP S TSS ACD)" userId="e7e82c7e-80c6-42a5-ab71-24588885b7fe" providerId="ADAL" clId="{167FC261-9733-43D8-A9C5-B462733A4DDF}" dt="2021-11-05T15:11:43.119" v="2402" actId="478"/>
          <ac:spMkLst>
            <pc:docMk/>
            <pc:sldMk cId="1419230258" sldId="2510"/>
            <ac:spMk id="93" creationId="{1A3F485C-DF6D-4612-8BF4-146A211AA7B5}"/>
          </ac:spMkLst>
        </pc:spChg>
        <pc:grpChg chg="add del mod">
          <ac:chgData name="Müller, Kurt (SI BP S TSS ACD)" userId="e7e82c7e-80c6-42a5-ab71-24588885b7fe" providerId="ADAL" clId="{167FC261-9733-43D8-A9C5-B462733A4DDF}" dt="2021-11-05T17:49:05.471" v="2698" actId="478"/>
          <ac:grpSpMkLst>
            <pc:docMk/>
            <pc:sldMk cId="1419230258" sldId="2510"/>
            <ac:grpSpMk id="50" creationId="{2D243070-A948-4EEE-9E7C-7E364F9BEF91}"/>
          </ac:grpSpMkLst>
        </pc:grpChg>
        <pc:picChg chg="del">
          <ac:chgData name="Müller, Kurt (SI BP S TSS ACD)" userId="e7e82c7e-80c6-42a5-ab71-24588885b7fe" providerId="ADAL" clId="{167FC261-9733-43D8-A9C5-B462733A4DDF}" dt="2021-11-05T15:11:43.119" v="2402" actId="478"/>
          <ac:picMkLst>
            <pc:docMk/>
            <pc:sldMk cId="1419230258" sldId="2510"/>
            <ac:picMk id="33" creationId="{F7A3DEF0-B0DE-4160-8F5A-BC13AAED3C03}"/>
          </ac:picMkLst>
        </pc:picChg>
        <pc:picChg chg="del">
          <ac:chgData name="Müller, Kurt (SI BP S TSS ACD)" userId="e7e82c7e-80c6-42a5-ab71-24588885b7fe" providerId="ADAL" clId="{167FC261-9733-43D8-A9C5-B462733A4DDF}" dt="2021-11-05T15:11:43.119" v="2402" actId="478"/>
          <ac:picMkLst>
            <pc:docMk/>
            <pc:sldMk cId="1419230258" sldId="2510"/>
            <ac:picMk id="54" creationId="{02617846-5467-4B63-B536-D3938AC20A88}"/>
          </ac:picMkLst>
        </pc:picChg>
        <pc:picChg chg="del">
          <ac:chgData name="Müller, Kurt (SI BP S TSS ACD)" userId="e7e82c7e-80c6-42a5-ab71-24588885b7fe" providerId="ADAL" clId="{167FC261-9733-43D8-A9C5-B462733A4DDF}" dt="2021-11-02T09:40:37.861" v="844" actId="478"/>
          <ac:picMkLst>
            <pc:docMk/>
            <pc:sldMk cId="1419230258" sldId="2510"/>
            <ac:picMk id="67" creationId="{BE5C9D24-0475-4BE1-A8B2-5350217B14D0}"/>
          </ac:picMkLst>
        </pc:picChg>
        <pc:picChg chg="del">
          <ac:chgData name="Müller, Kurt (SI BP S TSS ACD)" userId="e7e82c7e-80c6-42a5-ab71-24588885b7fe" providerId="ADAL" clId="{167FC261-9733-43D8-A9C5-B462733A4DDF}" dt="2021-11-05T15:11:43.119" v="2402" actId="478"/>
          <ac:picMkLst>
            <pc:docMk/>
            <pc:sldMk cId="1419230258" sldId="2510"/>
            <ac:picMk id="70" creationId="{5B26EF9C-3CCC-42EA-8A47-496C7A2025B7}"/>
          </ac:picMkLst>
        </pc:picChg>
        <pc:picChg chg="del">
          <ac:chgData name="Müller, Kurt (SI BP S TSS ACD)" userId="e7e82c7e-80c6-42a5-ab71-24588885b7fe" providerId="ADAL" clId="{167FC261-9733-43D8-A9C5-B462733A4DDF}" dt="2021-11-05T15:11:43.119" v="2402" actId="478"/>
          <ac:picMkLst>
            <pc:docMk/>
            <pc:sldMk cId="1419230258" sldId="2510"/>
            <ac:picMk id="73" creationId="{AF3EBC85-962D-41C8-816B-5E79EE824484}"/>
          </ac:picMkLst>
        </pc:picChg>
        <pc:picChg chg="del">
          <ac:chgData name="Müller, Kurt (SI BP S TSS ACD)" userId="e7e82c7e-80c6-42a5-ab71-24588885b7fe" providerId="ADAL" clId="{167FC261-9733-43D8-A9C5-B462733A4DDF}" dt="2021-11-05T15:11:43.119" v="2402" actId="478"/>
          <ac:picMkLst>
            <pc:docMk/>
            <pc:sldMk cId="1419230258" sldId="2510"/>
            <ac:picMk id="74" creationId="{754EF2AC-45B0-4000-B8F6-FFFF08F1A195}"/>
          </ac:picMkLst>
        </pc:picChg>
        <pc:picChg chg="del">
          <ac:chgData name="Müller, Kurt (SI BP S TSS ACD)" userId="e7e82c7e-80c6-42a5-ab71-24588885b7fe" providerId="ADAL" clId="{167FC261-9733-43D8-A9C5-B462733A4DDF}" dt="2021-11-05T15:11:43.119" v="2402" actId="478"/>
          <ac:picMkLst>
            <pc:docMk/>
            <pc:sldMk cId="1419230258" sldId="2510"/>
            <ac:picMk id="75" creationId="{4A64A827-0790-4025-8C79-C767303BFFB8}"/>
          </ac:picMkLst>
        </pc:picChg>
        <pc:picChg chg="add mod">
          <ac:chgData name="Müller, Kurt (SI BP S TSS ACD)" userId="e7e82c7e-80c6-42a5-ab71-24588885b7fe" providerId="ADAL" clId="{167FC261-9733-43D8-A9C5-B462733A4DDF}" dt="2021-11-05T15:11:46.714" v="2403" actId="1076"/>
          <ac:picMkLst>
            <pc:docMk/>
            <pc:sldMk cId="1419230258" sldId="2510"/>
            <ac:picMk id="1026" creationId="{332EE6AF-26AF-4349-BC3A-0BB741A8DC82}"/>
          </ac:picMkLst>
        </pc:picChg>
        <pc:picChg chg="add mod">
          <ac:chgData name="Müller, Kurt (SI BP S TSS ACD)" userId="e7e82c7e-80c6-42a5-ab71-24588885b7fe" providerId="ADAL" clId="{167FC261-9733-43D8-A9C5-B462733A4DDF}" dt="2021-11-05T15:12:15.610" v="2411" actId="1076"/>
          <ac:picMkLst>
            <pc:docMk/>
            <pc:sldMk cId="1419230258" sldId="2510"/>
            <ac:picMk id="1028" creationId="{4B8104F1-11D8-40C6-80CE-24DB5D3410FE}"/>
          </ac:picMkLst>
        </pc:picChg>
        <pc:cxnChg chg="del mod topLvl">
          <ac:chgData name="Müller, Kurt (SI BP S TSS ACD)" userId="e7e82c7e-80c6-42a5-ab71-24588885b7fe" providerId="ADAL" clId="{167FC261-9733-43D8-A9C5-B462733A4DDF}" dt="2021-11-05T17:49:05.471" v="2698" actId="478"/>
          <ac:cxnSpMkLst>
            <pc:docMk/>
            <pc:sldMk cId="1419230258" sldId="2510"/>
            <ac:cxnSpMk id="51" creationId="{0AD6CC4E-DDD6-4354-B3BD-1AE03532EB95}"/>
          </ac:cxnSpMkLst>
        </pc:cxnChg>
        <pc:cxnChg chg="del mod">
          <ac:chgData name="Müller, Kurt (SI BP S TSS ACD)" userId="e7e82c7e-80c6-42a5-ab71-24588885b7fe" providerId="ADAL" clId="{167FC261-9733-43D8-A9C5-B462733A4DDF}" dt="2021-11-05T17:49:02.934" v="2697" actId="478"/>
          <ac:cxnSpMkLst>
            <pc:docMk/>
            <pc:sldMk cId="1419230258" sldId="2510"/>
            <ac:cxnSpMk id="52" creationId="{A0E3E5AE-34BD-4A6F-A665-F638CE401891}"/>
          </ac:cxnSpMkLst>
        </pc:cxnChg>
        <pc:cxnChg chg="del mod">
          <ac:chgData name="Müller, Kurt (SI BP S TSS ACD)" userId="e7e82c7e-80c6-42a5-ab71-24588885b7fe" providerId="ADAL" clId="{167FC261-9733-43D8-A9C5-B462733A4DDF}" dt="2021-11-05T15:11:43.119" v="2402" actId="478"/>
          <ac:cxnSpMkLst>
            <pc:docMk/>
            <pc:sldMk cId="1419230258" sldId="2510"/>
            <ac:cxnSpMk id="81" creationId="{4C940D8D-95D6-476E-9926-EFBC8E551E63}"/>
          </ac:cxnSpMkLst>
        </pc:cxnChg>
        <pc:cxnChg chg="del">
          <ac:chgData name="Müller, Kurt (SI BP S TSS ACD)" userId="e7e82c7e-80c6-42a5-ab71-24588885b7fe" providerId="ADAL" clId="{167FC261-9733-43D8-A9C5-B462733A4DDF}" dt="2021-11-05T15:11:43.119" v="2402" actId="478"/>
          <ac:cxnSpMkLst>
            <pc:docMk/>
            <pc:sldMk cId="1419230258" sldId="2510"/>
            <ac:cxnSpMk id="83" creationId="{D1A3B89B-ED54-455E-A1C5-43CBF06B730D}"/>
          </ac:cxnSpMkLst>
        </pc:cxnChg>
        <pc:cxnChg chg="del mod">
          <ac:chgData name="Müller, Kurt (SI BP S TSS ACD)" userId="e7e82c7e-80c6-42a5-ab71-24588885b7fe" providerId="ADAL" clId="{167FC261-9733-43D8-A9C5-B462733A4DDF}" dt="2021-11-05T15:11:43.119" v="2402" actId="478"/>
          <ac:cxnSpMkLst>
            <pc:docMk/>
            <pc:sldMk cId="1419230258" sldId="2510"/>
            <ac:cxnSpMk id="85" creationId="{C1E9EA43-BBB2-40DC-8066-0115F08F809A}"/>
          </ac:cxnSpMkLst>
        </pc:cxnChg>
        <pc:cxnChg chg="del mod">
          <ac:chgData name="Müller, Kurt (SI BP S TSS ACD)" userId="e7e82c7e-80c6-42a5-ab71-24588885b7fe" providerId="ADAL" clId="{167FC261-9733-43D8-A9C5-B462733A4DDF}" dt="2021-11-05T15:11:43.119" v="2402" actId="478"/>
          <ac:cxnSpMkLst>
            <pc:docMk/>
            <pc:sldMk cId="1419230258" sldId="2510"/>
            <ac:cxnSpMk id="89" creationId="{8A046D43-F052-4625-9770-432260953FB9}"/>
          </ac:cxnSpMkLst>
        </pc:cxnChg>
      </pc:sldChg>
      <pc:sldChg chg="addSp delSp modSp add del mod ord modAnim">
        <pc:chgData name="Müller, Kurt (SI BP S TSS ACD)" userId="e7e82c7e-80c6-42a5-ab71-24588885b7fe" providerId="ADAL" clId="{167FC261-9733-43D8-A9C5-B462733A4DDF}" dt="2021-11-05T12:05:51.067" v="1778" actId="47"/>
        <pc:sldMkLst>
          <pc:docMk/>
          <pc:sldMk cId="2971582279" sldId="2511"/>
        </pc:sldMkLst>
        <pc:spChg chg="mod">
          <ac:chgData name="Müller, Kurt (SI BP S TSS ACD)" userId="e7e82c7e-80c6-42a5-ab71-24588885b7fe" providerId="ADAL" clId="{167FC261-9733-43D8-A9C5-B462733A4DDF}" dt="2021-11-05T09:02:38.420" v="1103"/>
          <ac:spMkLst>
            <pc:docMk/>
            <pc:sldMk cId="2971582279" sldId="2511"/>
            <ac:spMk id="8" creationId="{E2DF972E-BC82-4F31-AD23-493448C33A82}"/>
          </ac:spMkLst>
        </pc:spChg>
        <pc:spChg chg="mod">
          <ac:chgData name="Müller, Kurt (SI BP S TSS ACD)" userId="e7e82c7e-80c6-42a5-ab71-24588885b7fe" providerId="ADAL" clId="{167FC261-9733-43D8-A9C5-B462733A4DDF}" dt="2021-11-05T09:02:38.420" v="1103"/>
          <ac:spMkLst>
            <pc:docMk/>
            <pc:sldMk cId="2971582279" sldId="2511"/>
            <ac:spMk id="10" creationId="{85233537-3A52-4430-93F2-2759CA87A802}"/>
          </ac:spMkLst>
        </pc:spChg>
        <pc:spChg chg="mod">
          <ac:chgData name="Müller, Kurt (SI BP S TSS ACD)" userId="e7e82c7e-80c6-42a5-ab71-24588885b7fe" providerId="ADAL" clId="{167FC261-9733-43D8-A9C5-B462733A4DDF}" dt="2021-11-05T09:02:38.420" v="1103"/>
          <ac:spMkLst>
            <pc:docMk/>
            <pc:sldMk cId="2971582279" sldId="2511"/>
            <ac:spMk id="12" creationId="{5E8F89D4-5227-4BDC-8DA2-C3DD58AA72C7}"/>
          </ac:spMkLst>
        </pc:spChg>
        <pc:spChg chg="mod">
          <ac:chgData name="Müller, Kurt (SI BP S TSS ACD)" userId="e7e82c7e-80c6-42a5-ab71-24588885b7fe" providerId="ADAL" clId="{167FC261-9733-43D8-A9C5-B462733A4DDF}" dt="2021-11-05T09:02:38.420" v="1103"/>
          <ac:spMkLst>
            <pc:docMk/>
            <pc:sldMk cId="2971582279" sldId="2511"/>
            <ac:spMk id="14" creationId="{D639E89D-DB6A-4264-B04A-6E628419A1B4}"/>
          </ac:spMkLst>
        </pc:spChg>
        <pc:spChg chg="mod">
          <ac:chgData name="Müller, Kurt (SI BP S TSS ACD)" userId="e7e82c7e-80c6-42a5-ab71-24588885b7fe" providerId="ADAL" clId="{167FC261-9733-43D8-A9C5-B462733A4DDF}" dt="2021-11-05T09:02:38.420" v="1103"/>
          <ac:spMkLst>
            <pc:docMk/>
            <pc:sldMk cId="2971582279" sldId="2511"/>
            <ac:spMk id="18" creationId="{1EAE6ECB-19C5-4EA9-B946-AD6653639684}"/>
          </ac:spMkLst>
        </pc:spChg>
        <pc:spChg chg="mod">
          <ac:chgData name="Müller, Kurt (SI BP S TSS ACD)" userId="e7e82c7e-80c6-42a5-ab71-24588885b7fe" providerId="ADAL" clId="{167FC261-9733-43D8-A9C5-B462733A4DDF}" dt="2021-11-05T09:02:38.420" v="1103"/>
          <ac:spMkLst>
            <pc:docMk/>
            <pc:sldMk cId="2971582279" sldId="2511"/>
            <ac:spMk id="20" creationId="{AF99EDFC-4EF0-4086-9AAB-4B52ADCD3E18}"/>
          </ac:spMkLst>
        </pc:spChg>
        <pc:spChg chg="mod">
          <ac:chgData name="Müller, Kurt (SI BP S TSS ACD)" userId="e7e82c7e-80c6-42a5-ab71-24588885b7fe" providerId="ADAL" clId="{167FC261-9733-43D8-A9C5-B462733A4DDF}" dt="2021-11-05T09:02:38.420" v="1103"/>
          <ac:spMkLst>
            <pc:docMk/>
            <pc:sldMk cId="2971582279" sldId="2511"/>
            <ac:spMk id="21" creationId="{724974CD-6D55-424B-B92C-C24CC1440993}"/>
          </ac:spMkLst>
        </pc:spChg>
        <pc:spChg chg="mod">
          <ac:chgData name="Müller, Kurt (SI BP S TSS ACD)" userId="e7e82c7e-80c6-42a5-ab71-24588885b7fe" providerId="ADAL" clId="{167FC261-9733-43D8-A9C5-B462733A4DDF}" dt="2021-11-05T09:02:38.420" v="1103"/>
          <ac:spMkLst>
            <pc:docMk/>
            <pc:sldMk cId="2971582279" sldId="2511"/>
            <ac:spMk id="23" creationId="{1065652F-D595-4C6A-BF86-86FB5A507BA3}"/>
          </ac:spMkLst>
        </pc:spChg>
        <pc:spChg chg="mod">
          <ac:chgData name="Müller, Kurt (SI BP S TSS ACD)" userId="e7e82c7e-80c6-42a5-ab71-24588885b7fe" providerId="ADAL" clId="{167FC261-9733-43D8-A9C5-B462733A4DDF}" dt="2021-11-05T09:02:38.420" v="1103"/>
          <ac:spMkLst>
            <pc:docMk/>
            <pc:sldMk cId="2971582279" sldId="2511"/>
            <ac:spMk id="24" creationId="{2E2E348B-6D90-404C-9019-4CCEF40BAAC6}"/>
          </ac:spMkLst>
        </pc:spChg>
        <pc:spChg chg="mod">
          <ac:chgData name="Müller, Kurt (SI BP S TSS ACD)" userId="e7e82c7e-80c6-42a5-ab71-24588885b7fe" providerId="ADAL" clId="{167FC261-9733-43D8-A9C5-B462733A4DDF}" dt="2021-11-05T09:02:38.420" v="1103"/>
          <ac:spMkLst>
            <pc:docMk/>
            <pc:sldMk cId="2971582279" sldId="2511"/>
            <ac:spMk id="26" creationId="{299429D4-63A8-40E5-9350-0C9C004EDBD1}"/>
          </ac:spMkLst>
        </pc:spChg>
        <pc:spChg chg="mod">
          <ac:chgData name="Müller, Kurt (SI BP S TSS ACD)" userId="e7e82c7e-80c6-42a5-ab71-24588885b7fe" providerId="ADAL" clId="{167FC261-9733-43D8-A9C5-B462733A4DDF}" dt="2021-11-05T09:02:38.420" v="1103"/>
          <ac:spMkLst>
            <pc:docMk/>
            <pc:sldMk cId="2971582279" sldId="2511"/>
            <ac:spMk id="27" creationId="{64B78C0A-CE3D-44D7-ABED-F97FFD2CB7C7}"/>
          </ac:spMkLst>
        </pc:spChg>
        <pc:grpChg chg="add del mod">
          <ac:chgData name="Müller, Kurt (SI BP S TSS ACD)" userId="e7e82c7e-80c6-42a5-ab71-24588885b7fe" providerId="ADAL" clId="{167FC261-9733-43D8-A9C5-B462733A4DDF}" dt="2021-11-05T09:02:42.018" v="1106"/>
          <ac:grpSpMkLst>
            <pc:docMk/>
            <pc:sldMk cId="2971582279" sldId="2511"/>
            <ac:grpSpMk id="7" creationId="{C7AE0D09-B3DC-4F84-A873-3C984AE77EB2}"/>
          </ac:grpSpMkLst>
        </pc:grpChg>
        <pc:grpChg chg="add del mod">
          <ac:chgData name="Müller, Kurt (SI BP S TSS ACD)" userId="e7e82c7e-80c6-42a5-ab71-24588885b7fe" providerId="ADAL" clId="{167FC261-9733-43D8-A9C5-B462733A4DDF}" dt="2021-11-05T09:02:42.018" v="1106"/>
          <ac:grpSpMkLst>
            <pc:docMk/>
            <pc:sldMk cId="2971582279" sldId="2511"/>
            <ac:grpSpMk id="13" creationId="{94C7D5B8-CBCC-4BBE-8973-D91A71114447}"/>
          </ac:grpSpMkLst>
        </pc:grpChg>
        <pc:grpChg chg="add del mod">
          <ac:chgData name="Müller, Kurt (SI BP S TSS ACD)" userId="e7e82c7e-80c6-42a5-ab71-24588885b7fe" providerId="ADAL" clId="{167FC261-9733-43D8-A9C5-B462733A4DDF}" dt="2021-11-05T09:02:42.018" v="1106"/>
          <ac:grpSpMkLst>
            <pc:docMk/>
            <pc:sldMk cId="2971582279" sldId="2511"/>
            <ac:grpSpMk id="19" creationId="{10AB8AAA-86FC-47E4-B75D-7913240AE0E2}"/>
          </ac:grpSpMkLst>
        </pc:grpChg>
        <pc:grpChg chg="add del mod">
          <ac:chgData name="Müller, Kurt (SI BP S TSS ACD)" userId="e7e82c7e-80c6-42a5-ab71-24588885b7fe" providerId="ADAL" clId="{167FC261-9733-43D8-A9C5-B462733A4DDF}" dt="2021-11-05T09:02:42.018" v="1106"/>
          <ac:grpSpMkLst>
            <pc:docMk/>
            <pc:sldMk cId="2971582279" sldId="2511"/>
            <ac:grpSpMk id="22" creationId="{A6927F39-3F83-40C0-AC44-6FD84E5C99F4}"/>
          </ac:grpSpMkLst>
        </pc:grpChg>
        <pc:grpChg chg="add del mod">
          <ac:chgData name="Müller, Kurt (SI BP S TSS ACD)" userId="e7e82c7e-80c6-42a5-ab71-24588885b7fe" providerId="ADAL" clId="{167FC261-9733-43D8-A9C5-B462733A4DDF}" dt="2021-11-05T09:02:42.018" v="1106"/>
          <ac:grpSpMkLst>
            <pc:docMk/>
            <pc:sldMk cId="2971582279" sldId="2511"/>
            <ac:grpSpMk id="25" creationId="{687C9391-5B4E-46CF-8891-19E7211CD756}"/>
          </ac:grpSpMkLst>
        </pc:grpChg>
        <pc:picChg chg="del">
          <ac:chgData name="Müller, Kurt (SI BP S TSS ACD)" userId="e7e82c7e-80c6-42a5-ab71-24588885b7fe" providerId="ADAL" clId="{167FC261-9733-43D8-A9C5-B462733A4DDF}" dt="2021-11-05T09:02:37.391" v="1102" actId="478"/>
          <ac:picMkLst>
            <pc:docMk/>
            <pc:sldMk cId="2971582279" sldId="2511"/>
            <ac:picMk id="2" creationId="{CA2C41B5-5363-4C32-A17E-3BCA48D9EA23}"/>
          </ac:picMkLst>
        </pc:picChg>
        <pc:picChg chg="add mod">
          <ac:chgData name="Müller, Kurt (SI BP S TSS ACD)" userId="e7e82c7e-80c6-42a5-ab71-24588885b7fe" providerId="ADAL" clId="{167FC261-9733-43D8-A9C5-B462733A4DDF}" dt="2021-11-05T12:04:37.724" v="1769" actId="1076"/>
          <ac:picMkLst>
            <pc:docMk/>
            <pc:sldMk cId="2971582279" sldId="2511"/>
            <ac:picMk id="3" creationId="{79D35C79-2E1D-4F02-9CCF-675F03CA0BA5}"/>
          </ac:picMkLst>
        </pc:picChg>
        <pc:picChg chg="add del mod">
          <ac:chgData name="Müller, Kurt (SI BP S TSS ACD)" userId="e7e82c7e-80c6-42a5-ab71-24588885b7fe" providerId="ADAL" clId="{167FC261-9733-43D8-A9C5-B462733A4DDF}" dt="2021-11-05T09:02:42.018" v="1106"/>
          <ac:picMkLst>
            <pc:docMk/>
            <pc:sldMk cId="2971582279" sldId="2511"/>
            <ac:picMk id="5" creationId="{972F37D8-A304-4650-8BAE-B5FE7CDEBF9F}"/>
          </ac:picMkLst>
        </pc:picChg>
        <pc:picChg chg="add del mod">
          <ac:chgData name="Müller, Kurt (SI BP S TSS ACD)" userId="e7e82c7e-80c6-42a5-ab71-24588885b7fe" providerId="ADAL" clId="{167FC261-9733-43D8-A9C5-B462733A4DDF}" dt="2021-11-05T09:02:42.018" v="1106"/>
          <ac:picMkLst>
            <pc:docMk/>
            <pc:sldMk cId="2971582279" sldId="2511"/>
            <ac:picMk id="6" creationId="{AE1FCD0D-8A18-4F9F-BDA9-55A21E979432}"/>
          </ac:picMkLst>
        </pc:picChg>
        <pc:cxnChg chg="mod">
          <ac:chgData name="Müller, Kurt (SI BP S TSS ACD)" userId="e7e82c7e-80c6-42a5-ab71-24588885b7fe" providerId="ADAL" clId="{167FC261-9733-43D8-A9C5-B462733A4DDF}" dt="2021-11-05T09:02:38.420" v="1103"/>
          <ac:cxnSpMkLst>
            <pc:docMk/>
            <pc:sldMk cId="2971582279" sldId="2511"/>
            <ac:cxnSpMk id="9" creationId="{2F8D8747-CC60-483C-9D66-D2A13C16094B}"/>
          </ac:cxnSpMkLst>
        </pc:cxnChg>
        <pc:cxnChg chg="mod">
          <ac:chgData name="Müller, Kurt (SI BP S TSS ACD)" userId="e7e82c7e-80c6-42a5-ab71-24588885b7fe" providerId="ADAL" clId="{167FC261-9733-43D8-A9C5-B462733A4DDF}" dt="2021-11-05T09:02:38.420" v="1103"/>
          <ac:cxnSpMkLst>
            <pc:docMk/>
            <pc:sldMk cId="2971582279" sldId="2511"/>
            <ac:cxnSpMk id="11" creationId="{8BCDC4D3-01C1-4778-B147-5F64A6C48A83}"/>
          </ac:cxnSpMkLst>
        </pc:cxnChg>
        <pc:cxnChg chg="mod">
          <ac:chgData name="Müller, Kurt (SI BP S TSS ACD)" userId="e7e82c7e-80c6-42a5-ab71-24588885b7fe" providerId="ADAL" clId="{167FC261-9733-43D8-A9C5-B462733A4DDF}" dt="2021-11-05T09:02:38.420" v="1103"/>
          <ac:cxnSpMkLst>
            <pc:docMk/>
            <pc:sldMk cId="2971582279" sldId="2511"/>
            <ac:cxnSpMk id="15" creationId="{A05B24C4-D836-4E68-BE2C-CA094B89F982}"/>
          </ac:cxnSpMkLst>
        </pc:cxnChg>
        <pc:cxnChg chg="mod">
          <ac:chgData name="Müller, Kurt (SI BP S TSS ACD)" userId="e7e82c7e-80c6-42a5-ab71-24588885b7fe" providerId="ADAL" clId="{167FC261-9733-43D8-A9C5-B462733A4DDF}" dt="2021-11-05T09:02:38.420" v="1103"/>
          <ac:cxnSpMkLst>
            <pc:docMk/>
            <pc:sldMk cId="2971582279" sldId="2511"/>
            <ac:cxnSpMk id="16" creationId="{9D0BC2CA-2375-444D-9434-F6D210D43F33}"/>
          </ac:cxnSpMkLst>
        </pc:cxnChg>
        <pc:cxnChg chg="mod">
          <ac:chgData name="Müller, Kurt (SI BP S TSS ACD)" userId="e7e82c7e-80c6-42a5-ab71-24588885b7fe" providerId="ADAL" clId="{167FC261-9733-43D8-A9C5-B462733A4DDF}" dt="2021-11-05T09:02:38.420" v="1103"/>
          <ac:cxnSpMkLst>
            <pc:docMk/>
            <pc:sldMk cId="2971582279" sldId="2511"/>
            <ac:cxnSpMk id="17" creationId="{9D670CB8-B120-4001-8017-45CFF9813C37}"/>
          </ac:cxnSpMkLst>
        </pc:cxnChg>
      </pc:sldChg>
      <pc:sldChg chg="delSp modSp add del mod">
        <pc:chgData name="Müller, Kurt (SI BP S TSS ACD)" userId="e7e82c7e-80c6-42a5-ab71-24588885b7fe" providerId="ADAL" clId="{167FC261-9733-43D8-A9C5-B462733A4DDF}" dt="2021-11-02T09:46:25.498" v="912" actId="47"/>
        <pc:sldMkLst>
          <pc:docMk/>
          <pc:sldMk cId="3910430951" sldId="2511"/>
        </pc:sldMkLst>
        <pc:spChg chg="mod">
          <ac:chgData name="Müller, Kurt (SI BP S TSS ACD)" userId="e7e82c7e-80c6-42a5-ab71-24588885b7fe" providerId="ADAL" clId="{167FC261-9733-43D8-A9C5-B462733A4DDF}" dt="2021-10-19T09:41:17.698" v="720" actId="20577"/>
          <ac:spMkLst>
            <pc:docMk/>
            <pc:sldMk cId="3910430951" sldId="2511"/>
            <ac:spMk id="14" creationId="{B3E8F97C-ABB2-4A19-95F8-3B695F064573}"/>
          </ac:spMkLst>
        </pc:spChg>
        <pc:spChg chg="del">
          <ac:chgData name="Müller, Kurt (SI BP S TSS ACD)" userId="e7e82c7e-80c6-42a5-ab71-24588885b7fe" providerId="ADAL" clId="{167FC261-9733-43D8-A9C5-B462733A4DDF}" dt="2021-10-19T09:38:00.505" v="696" actId="478"/>
          <ac:spMkLst>
            <pc:docMk/>
            <pc:sldMk cId="3910430951" sldId="2511"/>
            <ac:spMk id="25" creationId="{9E350A98-57D8-4A29-87BB-DA4E91A5D743}"/>
          </ac:spMkLst>
        </pc:spChg>
        <pc:spChg chg="del">
          <ac:chgData name="Müller, Kurt (SI BP S TSS ACD)" userId="e7e82c7e-80c6-42a5-ab71-24588885b7fe" providerId="ADAL" clId="{167FC261-9733-43D8-A9C5-B462733A4DDF}" dt="2021-10-19T09:38:04.856" v="698" actId="478"/>
          <ac:spMkLst>
            <pc:docMk/>
            <pc:sldMk cId="3910430951" sldId="2511"/>
            <ac:spMk id="31" creationId="{69426052-8C34-4070-A649-B01801B08EFA}"/>
          </ac:spMkLst>
        </pc:spChg>
        <pc:spChg chg="del">
          <ac:chgData name="Müller, Kurt (SI BP S TSS ACD)" userId="e7e82c7e-80c6-42a5-ab71-24588885b7fe" providerId="ADAL" clId="{167FC261-9733-43D8-A9C5-B462733A4DDF}" dt="2021-10-19T09:38:00.505" v="696" actId="478"/>
          <ac:spMkLst>
            <pc:docMk/>
            <pc:sldMk cId="3910430951" sldId="2511"/>
            <ac:spMk id="42" creationId="{93A5E011-CEF2-42B8-8323-CBD3EBDDFAEA}"/>
          </ac:spMkLst>
        </pc:spChg>
        <pc:spChg chg="del">
          <ac:chgData name="Müller, Kurt (SI BP S TSS ACD)" userId="e7e82c7e-80c6-42a5-ab71-24588885b7fe" providerId="ADAL" clId="{167FC261-9733-43D8-A9C5-B462733A4DDF}" dt="2021-10-19T09:38:00.505" v="696" actId="478"/>
          <ac:spMkLst>
            <pc:docMk/>
            <pc:sldMk cId="3910430951" sldId="2511"/>
            <ac:spMk id="43" creationId="{8EF7824E-B815-43BB-A1EE-0062E6A23366}"/>
          </ac:spMkLst>
        </pc:spChg>
        <pc:spChg chg="del">
          <ac:chgData name="Müller, Kurt (SI BP S TSS ACD)" userId="e7e82c7e-80c6-42a5-ab71-24588885b7fe" providerId="ADAL" clId="{167FC261-9733-43D8-A9C5-B462733A4DDF}" dt="2021-10-19T09:37:56.480" v="693" actId="478"/>
          <ac:spMkLst>
            <pc:docMk/>
            <pc:sldMk cId="3910430951" sldId="2511"/>
            <ac:spMk id="44" creationId="{C25AFED6-F466-4C13-97CD-969E17364F0C}"/>
          </ac:spMkLst>
        </pc:spChg>
        <pc:spChg chg="del">
          <ac:chgData name="Müller, Kurt (SI BP S TSS ACD)" userId="e7e82c7e-80c6-42a5-ab71-24588885b7fe" providerId="ADAL" clId="{167FC261-9733-43D8-A9C5-B462733A4DDF}" dt="2021-10-19T09:38:00.505" v="696" actId="478"/>
          <ac:spMkLst>
            <pc:docMk/>
            <pc:sldMk cId="3910430951" sldId="2511"/>
            <ac:spMk id="45" creationId="{46E50453-C6CA-4B2E-A792-08C6395F9B3F}"/>
          </ac:spMkLst>
        </pc:spChg>
        <pc:spChg chg="del">
          <ac:chgData name="Müller, Kurt (SI BP S TSS ACD)" userId="e7e82c7e-80c6-42a5-ab71-24588885b7fe" providerId="ADAL" clId="{167FC261-9733-43D8-A9C5-B462733A4DDF}" dt="2021-10-19T09:37:57.441" v="694" actId="478"/>
          <ac:spMkLst>
            <pc:docMk/>
            <pc:sldMk cId="3910430951" sldId="2511"/>
            <ac:spMk id="51" creationId="{492B468C-641C-4CC5-91B8-07718B51673F}"/>
          </ac:spMkLst>
        </pc:spChg>
        <pc:spChg chg="del">
          <ac:chgData name="Müller, Kurt (SI BP S TSS ACD)" userId="e7e82c7e-80c6-42a5-ab71-24588885b7fe" providerId="ADAL" clId="{167FC261-9733-43D8-A9C5-B462733A4DDF}" dt="2021-10-19T09:37:58.077" v="695" actId="478"/>
          <ac:spMkLst>
            <pc:docMk/>
            <pc:sldMk cId="3910430951" sldId="2511"/>
            <ac:spMk id="52" creationId="{016142C8-3F59-4DF1-997A-B5A981B0AEF6}"/>
          </ac:spMkLst>
        </pc:spChg>
        <pc:picChg chg="del">
          <ac:chgData name="Müller, Kurt (SI BP S TSS ACD)" userId="e7e82c7e-80c6-42a5-ab71-24588885b7fe" providerId="ADAL" clId="{167FC261-9733-43D8-A9C5-B462733A4DDF}" dt="2021-10-19T09:37:55.233" v="692" actId="478"/>
          <ac:picMkLst>
            <pc:docMk/>
            <pc:sldMk cId="3910430951" sldId="2511"/>
            <ac:picMk id="28" creationId="{7A3EC993-74F9-4AC5-95CE-B9FB90A83CA3}"/>
          </ac:picMkLst>
        </pc:picChg>
        <pc:picChg chg="del">
          <ac:chgData name="Müller, Kurt (SI BP S TSS ACD)" userId="e7e82c7e-80c6-42a5-ab71-24588885b7fe" providerId="ADAL" clId="{167FC261-9733-43D8-A9C5-B462733A4DDF}" dt="2021-10-19T09:38:00.505" v="696" actId="478"/>
          <ac:picMkLst>
            <pc:docMk/>
            <pc:sldMk cId="3910430951" sldId="2511"/>
            <ac:picMk id="41" creationId="{542B8FB7-8112-4384-8B81-0E7528ACF1F1}"/>
          </ac:picMkLst>
        </pc:picChg>
        <pc:picChg chg="del">
          <ac:chgData name="Müller, Kurt (SI BP S TSS ACD)" userId="e7e82c7e-80c6-42a5-ab71-24588885b7fe" providerId="ADAL" clId="{167FC261-9733-43D8-A9C5-B462733A4DDF}" dt="2021-10-19T09:38:00.505" v="696" actId="478"/>
          <ac:picMkLst>
            <pc:docMk/>
            <pc:sldMk cId="3910430951" sldId="2511"/>
            <ac:picMk id="48" creationId="{4BC9F920-1293-4ED0-BE1C-D662C9BF6BB9}"/>
          </ac:picMkLst>
        </pc:picChg>
        <pc:picChg chg="del">
          <ac:chgData name="Müller, Kurt (SI BP S TSS ACD)" userId="e7e82c7e-80c6-42a5-ab71-24588885b7fe" providerId="ADAL" clId="{167FC261-9733-43D8-A9C5-B462733A4DDF}" dt="2021-10-19T09:38:00.505" v="696" actId="478"/>
          <ac:picMkLst>
            <pc:docMk/>
            <pc:sldMk cId="3910430951" sldId="2511"/>
            <ac:picMk id="49" creationId="{034EF5D7-4B8D-4414-85D0-1C84328F389D}"/>
          </ac:picMkLst>
        </pc:picChg>
        <pc:picChg chg="del">
          <ac:chgData name="Müller, Kurt (SI BP S TSS ACD)" userId="e7e82c7e-80c6-42a5-ab71-24588885b7fe" providerId="ADAL" clId="{167FC261-9733-43D8-A9C5-B462733A4DDF}" dt="2021-10-19T09:38:00.505" v="696" actId="478"/>
          <ac:picMkLst>
            <pc:docMk/>
            <pc:sldMk cId="3910430951" sldId="2511"/>
            <ac:picMk id="50" creationId="{81E75DEE-BBF4-4223-B527-A7F5CD91A782}"/>
          </ac:picMkLst>
        </pc:picChg>
        <pc:picChg chg="mod">
          <ac:chgData name="Müller, Kurt (SI BP S TSS ACD)" userId="e7e82c7e-80c6-42a5-ab71-24588885b7fe" providerId="ADAL" clId="{167FC261-9733-43D8-A9C5-B462733A4DDF}" dt="2021-10-19T09:38:02.095" v="697" actId="1076"/>
          <ac:picMkLst>
            <pc:docMk/>
            <pc:sldMk cId="3910430951" sldId="2511"/>
            <ac:picMk id="1026" creationId="{7B19C964-D8AB-4084-91D1-4411BCA962DE}"/>
          </ac:picMkLst>
        </pc:picChg>
      </pc:sldChg>
      <pc:sldChg chg="addSp delSp modSp add del mod modAnim">
        <pc:chgData name="Müller, Kurt (SI BP S TSS ACD)" userId="e7e82c7e-80c6-42a5-ab71-24588885b7fe" providerId="ADAL" clId="{167FC261-9733-43D8-A9C5-B462733A4DDF}" dt="2021-11-05T14:52:47.681" v="2354" actId="47"/>
        <pc:sldMkLst>
          <pc:docMk/>
          <pc:sldMk cId="2960129335" sldId="2512"/>
        </pc:sldMkLst>
        <pc:spChg chg="mod">
          <ac:chgData name="Müller, Kurt (SI BP S TSS ACD)" userId="e7e82c7e-80c6-42a5-ab71-24588885b7fe" providerId="ADAL" clId="{167FC261-9733-43D8-A9C5-B462733A4DDF}" dt="2021-11-05T12:05:33.494" v="1772"/>
          <ac:spMkLst>
            <pc:docMk/>
            <pc:sldMk cId="2960129335" sldId="2512"/>
            <ac:spMk id="8" creationId="{E2701239-DE67-4C43-AAFA-A68F1F13630D}"/>
          </ac:spMkLst>
        </pc:spChg>
        <pc:spChg chg="mod">
          <ac:chgData name="Müller, Kurt (SI BP S TSS ACD)" userId="e7e82c7e-80c6-42a5-ab71-24588885b7fe" providerId="ADAL" clId="{167FC261-9733-43D8-A9C5-B462733A4DDF}" dt="2021-11-05T12:05:33.494" v="1772"/>
          <ac:spMkLst>
            <pc:docMk/>
            <pc:sldMk cId="2960129335" sldId="2512"/>
            <ac:spMk id="10" creationId="{9695E5ED-5DA3-4C41-8968-21BF39AC1052}"/>
          </ac:spMkLst>
        </pc:spChg>
        <pc:spChg chg="mod">
          <ac:chgData name="Müller, Kurt (SI BP S TSS ACD)" userId="e7e82c7e-80c6-42a5-ab71-24588885b7fe" providerId="ADAL" clId="{167FC261-9733-43D8-A9C5-B462733A4DDF}" dt="2021-11-05T12:05:33.494" v="1772"/>
          <ac:spMkLst>
            <pc:docMk/>
            <pc:sldMk cId="2960129335" sldId="2512"/>
            <ac:spMk id="12" creationId="{EB32AD7C-5D0E-4EA7-837D-7CEC9B6C673B}"/>
          </ac:spMkLst>
        </pc:spChg>
        <pc:spChg chg="mod">
          <ac:chgData name="Müller, Kurt (SI BP S TSS ACD)" userId="e7e82c7e-80c6-42a5-ab71-24588885b7fe" providerId="ADAL" clId="{167FC261-9733-43D8-A9C5-B462733A4DDF}" dt="2021-11-05T12:05:33.494" v="1772"/>
          <ac:spMkLst>
            <pc:docMk/>
            <pc:sldMk cId="2960129335" sldId="2512"/>
            <ac:spMk id="14" creationId="{50A582D7-71CE-4F31-B81C-B8A2E908862A}"/>
          </ac:spMkLst>
        </pc:spChg>
        <pc:spChg chg="mod">
          <ac:chgData name="Müller, Kurt (SI BP S TSS ACD)" userId="e7e82c7e-80c6-42a5-ab71-24588885b7fe" providerId="ADAL" clId="{167FC261-9733-43D8-A9C5-B462733A4DDF}" dt="2021-11-05T12:05:33.494" v="1772"/>
          <ac:spMkLst>
            <pc:docMk/>
            <pc:sldMk cId="2960129335" sldId="2512"/>
            <ac:spMk id="18" creationId="{52AACBB1-44E2-4B7D-9863-EC8F143FF24C}"/>
          </ac:spMkLst>
        </pc:spChg>
        <pc:spChg chg="mod">
          <ac:chgData name="Müller, Kurt (SI BP S TSS ACD)" userId="e7e82c7e-80c6-42a5-ab71-24588885b7fe" providerId="ADAL" clId="{167FC261-9733-43D8-A9C5-B462733A4DDF}" dt="2021-11-05T12:05:33.494" v="1772"/>
          <ac:spMkLst>
            <pc:docMk/>
            <pc:sldMk cId="2960129335" sldId="2512"/>
            <ac:spMk id="20" creationId="{77450DD5-6D3B-442B-A357-56B1F32408B6}"/>
          </ac:spMkLst>
        </pc:spChg>
        <pc:spChg chg="mod">
          <ac:chgData name="Müller, Kurt (SI BP S TSS ACD)" userId="e7e82c7e-80c6-42a5-ab71-24588885b7fe" providerId="ADAL" clId="{167FC261-9733-43D8-A9C5-B462733A4DDF}" dt="2021-11-05T12:05:33.494" v="1772"/>
          <ac:spMkLst>
            <pc:docMk/>
            <pc:sldMk cId="2960129335" sldId="2512"/>
            <ac:spMk id="21" creationId="{0D83286D-EA30-4E77-8D1C-746E036B472F}"/>
          </ac:spMkLst>
        </pc:spChg>
        <pc:spChg chg="mod">
          <ac:chgData name="Müller, Kurt (SI BP S TSS ACD)" userId="e7e82c7e-80c6-42a5-ab71-24588885b7fe" providerId="ADAL" clId="{167FC261-9733-43D8-A9C5-B462733A4DDF}" dt="2021-11-05T12:05:33.494" v="1772"/>
          <ac:spMkLst>
            <pc:docMk/>
            <pc:sldMk cId="2960129335" sldId="2512"/>
            <ac:spMk id="23" creationId="{B6F93B66-AE54-4D6C-864C-4E5E8C35E203}"/>
          </ac:spMkLst>
        </pc:spChg>
        <pc:spChg chg="mod">
          <ac:chgData name="Müller, Kurt (SI BP S TSS ACD)" userId="e7e82c7e-80c6-42a5-ab71-24588885b7fe" providerId="ADAL" clId="{167FC261-9733-43D8-A9C5-B462733A4DDF}" dt="2021-11-05T12:05:33.494" v="1772"/>
          <ac:spMkLst>
            <pc:docMk/>
            <pc:sldMk cId="2960129335" sldId="2512"/>
            <ac:spMk id="24" creationId="{F98AA2DD-F181-4A80-8593-5FADD827B81D}"/>
          </ac:spMkLst>
        </pc:spChg>
        <pc:spChg chg="mod">
          <ac:chgData name="Müller, Kurt (SI BP S TSS ACD)" userId="e7e82c7e-80c6-42a5-ab71-24588885b7fe" providerId="ADAL" clId="{167FC261-9733-43D8-A9C5-B462733A4DDF}" dt="2021-11-05T12:05:33.494" v="1772"/>
          <ac:spMkLst>
            <pc:docMk/>
            <pc:sldMk cId="2960129335" sldId="2512"/>
            <ac:spMk id="26" creationId="{9AB86D9D-2B95-41AC-9FED-6A13A1C8B194}"/>
          </ac:spMkLst>
        </pc:spChg>
        <pc:spChg chg="mod">
          <ac:chgData name="Müller, Kurt (SI BP S TSS ACD)" userId="e7e82c7e-80c6-42a5-ab71-24588885b7fe" providerId="ADAL" clId="{167FC261-9733-43D8-A9C5-B462733A4DDF}" dt="2021-11-05T12:05:33.494" v="1772"/>
          <ac:spMkLst>
            <pc:docMk/>
            <pc:sldMk cId="2960129335" sldId="2512"/>
            <ac:spMk id="27" creationId="{A6CB1029-A4CB-45BB-9F23-DD5F2D393BD8}"/>
          </ac:spMkLst>
        </pc:spChg>
        <pc:spChg chg="mod topLvl">
          <ac:chgData name="Müller, Kurt (SI BP S TSS ACD)" userId="e7e82c7e-80c6-42a5-ab71-24588885b7fe" providerId="ADAL" clId="{167FC261-9733-43D8-A9C5-B462733A4DDF}" dt="2021-11-05T12:15:49.224" v="1835" actId="165"/>
          <ac:spMkLst>
            <pc:docMk/>
            <pc:sldMk cId="2960129335" sldId="2512"/>
            <ac:spMk id="31" creationId="{06109252-347B-4DF1-AE1D-E3560F1786A4}"/>
          </ac:spMkLst>
        </pc:spChg>
        <pc:spChg chg="mod topLvl">
          <ac:chgData name="Müller, Kurt (SI BP S TSS ACD)" userId="e7e82c7e-80c6-42a5-ab71-24588885b7fe" providerId="ADAL" clId="{167FC261-9733-43D8-A9C5-B462733A4DDF}" dt="2021-11-05T12:15:49.224" v="1835" actId="165"/>
          <ac:spMkLst>
            <pc:docMk/>
            <pc:sldMk cId="2960129335" sldId="2512"/>
            <ac:spMk id="33" creationId="{C552103E-696F-4446-A6F4-E0B32C713733}"/>
          </ac:spMkLst>
        </pc:spChg>
        <pc:spChg chg="mod topLvl">
          <ac:chgData name="Müller, Kurt (SI BP S TSS ACD)" userId="e7e82c7e-80c6-42a5-ab71-24588885b7fe" providerId="ADAL" clId="{167FC261-9733-43D8-A9C5-B462733A4DDF}" dt="2021-11-05T12:15:49.224" v="1835" actId="165"/>
          <ac:spMkLst>
            <pc:docMk/>
            <pc:sldMk cId="2960129335" sldId="2512"/>
            <ac:spMk id="35" creationId="{255D5292-DA29-42BF-9858-7C113ED7AF97}"/>
          </ac:spMkLst>
        </pc:spChg>
        <pc:spChg chg="mod topLvl">
          <ac:chgData name="Müller, Kurt (SI BP S TSS ACD)" userId="e7e82c7e-80c6-42a5-ab71-24588885b7fe" providerId="ADAL" clId="{167FC261-9733-43D8-A9C5-B462733A4DDF}" dt="2021-11-05T12:15:58.432" v="1836" actId="165"/>
          <ac:spMkLst>
            <pc:docMk/>
            <pc:sldMk cId="2960129335" sldId="2512"/>
            <ac:spMk id="37" creationId="{0964B9DA-4BA8-45BB-8294-288281AD08ED}"/>
          </ac:spMkLst>
        </pc:spChg>
        <pc:spChg chg="mod topLvl">
          <ac:chgData name="Müller, Kurt (SI BP S TSS ACD)" userId="e7e82c7e-80c6-42a5-ab71-24588885b7fe" providerId="ADAL" clId="{167FC261-9733-43D8-A9C5-B462733A4DDF}" dt="2021-11-05T12:15:58.432" v="1836" actId="165"/>
          <ac:spMkLst>
            <pc:docMk/>
            <pc:sldMk cId="2960129335" sldId="2512"/>
            <ac:spMk id="41" creationId="{57FA8397-952F-4784-BD5E-1A1A3676421C}"/>
          </ac:spMkLst>
        </pc:spChg>
        <pc:spChg chg="mod">
          <ac:chgData name="Müller, Kurt (SI BP S TSS ACD)" userId="e7e82c7e-80c6-42a5-ab71-24588885b7fe" providerId="ADAL" clId="{167FC261-9733-43D8-A9C5-B462733A4DDF}" dt="2021-11-05T12:05:41.843" v="1776"/>
          <ac:spMkLst>
            <pc:docMk/>
            <pc:sldMk cId="2960129335" sldId="2512"/>
            <ac:spMk id="43" creationId="{86E5B694-00A4-4382-A14F-C3054F361DD8}"/>
          </ac:spMkLst>
        </pc:spChg>
        <pc:spChg chg="mod">
          <ac:chgData name="Müller, Kurt (SI BP S TSS ACD)" userId="e7e82c7e-80c6-42a5-ab71-24588885b7fe" providerId="ADAL" clId="{167FC261-9733-43D8-A9C5-B462733A4DDF}" dt="2021-11-05T12:05:41.843" v="1776"/>
          <ac:spMkLst>
            <pc:docMk/>
            <pc:sldMk cId="2960129335" sldId="2512"/>
            <ac:spMk id="44" creationId="{573E6403-CF9B-4290-9C5B-AAB16D26807D}"/>
          </ac:spMkLst>
        </pc:spChg>
        <pc:spChg chg="mod">
          <ac:chgData name="Müller, Kurt (SI BP S TSS ACD)" userId="e7e82c7e-80c6-42a5-ab71-24588885b7fe" providerId="ADAL" clId="{167FC261-9733-43D8-A9C5-B462733A4DDF}" dt="2021-11-05T12:05:41.843" v="1776"/>
          <ac:spMkLst>
            <pc:docMk/>
            <pc:sldMk cId="2960129335" sldId="2512"/>
            <ac:spMk id="46" creationId="{C540D632-E0F3-4129-B18E-6807EDB9CB14}"/>
          </ac:spMkLst>
        </pc:spChg>
        <pc:spChg chg="mod">
          <ac:chgData name="Müller, Kurt (SI BP S TSS ACD)" userId="e7e82c7e-80c6-42a5-ab71-24588885b7fe" providerId="ADAL" clId="{167FC261-9733-43D8-A9C5-B462733A4DDF}" dt="2021-11-05T12:05:41.843" v="1776"/>
          <ac:spMkLst>
            <pc:docMk/>
            <pc:sldMk cId="2960129335" sldId="2512"/>
            <ac:spMk id="47" creationId="{84F1A2B2-3C6F-414F-81CC-4D50F8B06D81}"/>
          </ac:spMkLst>
        </pc:spChg>
        <pc:spChg chg="mod">
          <ac:chgData name="Müller, Kurt (SI BP S TSS ACD)" userId="e7e82c7e-80c6-42a5-ab71-24588885b7fe" providerId="ADAL" clId="{167FC261-9733-43D8-A9C5-B462733A4DDF}" dt="2021-11-05T12:05:41.843" v="1776"/>
          <ac:spMkLst>
            <pc:docMk/>
            <pc:sldMk cId="2960129335" sldId="2512"/>
            <ac:spMk id="49" creationId="{CD15B37C-A083-47CA-84E0-E5194C013683}"/>
          </ac:spMkLst>
        </pc:spChg>
        <pc:spChg chg="mod">
          <ac:chgData name="Müller, Kurt (SI BP S TSS ACD)" userId="e7e82c7e-80c6-42a5-ab71-24588885b7fe" providerId="ADAL" clId="{167FC261-9733-43D8-A9C5-B462733A4DDF}" dt="2021-11-05T12:05:41.843" v="1776"/>
          <ac:spMkLst>
            <pc:docMk/>
            <pc:sldMk cId="2960129335" sldId="2512"/>
            <ac:spMk id="50" creationId="{E0068D63-8FA4-4579-9B32-98F4D0AE9108}"/>
          </ac:spMkLst>
        </pc:spChg>
        <pc:spChg chg="add mod">
          <ac:chgData name="Müller, Kurt (SI BP S TSS ACD)" userId="e7e82c7e-80c6-42a5-ab71-24588885b7fe" providerId="ADAL" clId="{167FC261-9733-43D8-A9C5-B462733A4DDF}" dt="2021-11-05T12:13:40.882" v="1831" actId="20577"/>
          <ac:spMkLst>
            <pc:docMk/>
            <pc:sldMk cId="2960129335" sldId="2512"/>
            <ac:spMk id="51" creationId="{EAF5ED0E-D67A-4E2E-8522-3EF27692ADA9}"/>
          </ac:spMkLst>
        </pc:spChg>
        <pc:grpChg chg="add del mod">
          <ac:chgData name="Müller, Kurt (SI BP S TSS ACD)" userId="e7e82c7e-80c6-42a5-ab71-24588885b7fe" providerId="ADAL" clId="{167FC261-9733-43D8-A9C5-B462733A4DDF}" dt="2021-11-05T12:05:41.785" v="1775"/>
          <ac:grpSpMkLst>
            <pc:docMk/>
            <pc:sldMk cId="2960129335" sldId="2512"/>
            <ac:grpSpMk id="7" creationId="{2BCEADB5-02DB-4CAB-ABB7-31AC4DD19CED}"/>
          </ac:grpSpMkLst>
        </pc:grpChg>
        <pc:grpChg chg="add del mod">
          <ac:chgData name="Müller, Kurt (SI BP S TSS ACD)" userId="e7e82c7e-80c6-42a5-ab71-24588885b7fe" providerId="ADAL" clId="{167FC261-9733-43D8-A9C5-B462733A4DDF}" dt="2021-11-05T12:05:41.785" v="1775"/>
          <ac:grpSpMkLst>
            <pc:docMk/>
            <pc:sldMk cId="2960129335" sldId="2512"/>
            <ac:grpSpMk id="13" creationId="{7B2B6F72-2CE4-405C-881D-0E9769AF9476}"/>
          </ac:grpSpMkLst>
        </pc:grpChg>
        <pc:grpChg chg="add del mod">
          <ac:chgData name="Müller, Kurt (SI BP S TSS ACD)" userId="e7e82c7e-80c6-42a5-ab71-24588885b7fe" providerId="ADAL" clId="{167FC261-9733-43D8-A9C5-B462733A4DDF}" dt="2021-11-05T12:05:41.785" v="1775"/>
          <ac:grpSpMkLst>
            <pc:docMk/>
            <pc:sldMk cId="2960129335" sldId="2512"/>
            <ac:grpSpMk id="19" creationId="{A13E12F5-98DF-442F-BE25-AB97658084F5}"/>
          </ac:grpSpMkLst>
        </pc:grpChg>
        <pc:grpChg chg="add del mod">
          <ac:chgData name="Müller, Kurt (SI BP S TSS ACD)" userId="e7e82c7e-80c6-42a5-ab71-24588885b7fe" providerId="ADAL" clId="{167FC261-9733-43D8-A9C5-B462733A4DDF}" dt="2021-11-05T12:05:41.785" v="1775"/>
          <ac:grpSpMkLst>
            <pc:docMk/>
            <pc:sldMk cId="2960129335" sldId="2512"/>
            <ac:grpSpMk id="22" creationId="{6712D942-65B5-478A-AE27-E1ED2773A9E6}"/>
          </ac:grpSpMkLst>
        </pc:grpChg>
        <pc:grpChg chg="add del mod">
          <ac:chgData name="Müller, Kurt (SI BP S TSS ACD)" userId="e7e82c7e-80c6-42a5-ab71-24588885b7fe" providerId="ADAL" clId="{167FC261-9733-43D8-A9C5-B462733A4DDF}" dt="2021-11-05T12:05:41.785" v="1775"/>
          <ac:grpSpMkLst>
            <pc:docMk/>
            <pc:sldMk cId="2960129335" sldId="2512"/>
            <ac:grpSpMk id="25" creationId="{E95E8BD7-5673-4905-8677-CF0FF3D010CC}"/>
          </ac:grpSpMkLst>
        </pc:grpChg>
        <pc:grpChg chg="add del mod">
          <ac:chgData name="Müller, Kurt (SI BP S TSS ACD)" userId="e7e82c7e-80c6-42a5-ab71-24588885b7fe" providerId="ADAL" clId="{167FC261-9733-43D8-A9C5-B462733A4DDF}" dt="2021-11-05T12:15:49.224" v="1835" actId="165"/>
          <ac:grpSpMkLst>
            <pc:docMk/>
            <pc:sldMk cId="2960129335" sldId="2512"/>
            <ac:grpSpMk id="30" creationId="{A225A542-CC05-4FF4-BFF2-99F60B3319C2}"/>
          </ac:grpSpMkLst>
        </pc:grpChg>
        <pc:grpChg chg="add del mod">
          <ac:chgData name="Müller, Kurt (SI BP S TSS ACD)" userId="e7e82c7e-80c6-42a5-ab71-24588885b7fe" providerId="ADAL" clId="{167FC261-9733-43D8-A9C5-B462733A4DDF}" dt="2021-11-05T12:15:58.432" v="1836" actId="165"/>
          <ac:grpSpMkLst>
            <pc:docMk/>
            <pc:sldMk cId="2960129335" sldId="2512"/>
            <ac:grpSpMk id="36" creationId="{68E9DE6C-D581-41FC-BE86-FE14CF275AE0}"/>
          </ac:grpSpMkLst>
        </pc:grpChg>
        <pc:grpChg chg="add mod">
          <ac:chgData name="Müller, Kurt (SI BP S TSS ACD)" userId="e7e82c7e-80c6-42a5-ab71-24588885b7fe" providerId="ADAL" clId="{167FC261-9733-43D8-A9C5-B462733A4DDF}" dt="2021-11-05T12:13:07.303" v="1784" actId="1076"/>
          <ac:grpSpMkLst>
            <pc:docMk/>
            <pc:sldMk cId="2960129335" sldId="2512"/>
            <ac:grpSpMk id="42" creationId="{611D049E-E494-4861-A4F5-4DC13FAD2271}"/>
          </ac:grpSpMkLst>
        </pc:grpChg>
        <pc:grpChg chg="add mod">
          <ac:chgData name="Müller, Kurt (SI BP S TSS ACD)" userId="e7e82c7e-80c6-42a5-ab71-24588885b7fe" providerId="ADAL" clId="{167FC261-9733-43D8-A9C5-B462733A4DDF}" dt="2021-11-05T12:13:07.303" v="1784" actId="1076"/>
          <ac:grpSpMkLst>
            <pc:docMk/>
            <pc:sldMk cId="2960129335" sldId="2512"/>
            <ac:grpSpMk id="45" creationId="{A7918B46-47E8-43BA-87A7-A3D22C82EDAB}"/>
          </ac:grpSpMkLst>
        </pc:grpChg>
        <pc:grpChg chg="add mod">
          <ac:chgData name="Müller, Kurt (SI BP S TSS ACD)" userId="e7e82c7e-80c6-42a5-ab71-24588885b7fe" providerId="ADAL" clId="{167FC261-9733-43D8-A9C5-B462733A4DDF}" dt="2021-11-05T12:13:07.303" v="1784" actId="1076"/>
          <ac:grpSpMkLst>
            <pc:docMk/>
            <pc:sldMk cId="2960129335" sldId="2512"/>
            <ac:grpSpMk id="48" creationId="{F457A8E3-C444-4235-8D02-FEA7067B6A6F}"/>
          </ac:grpSpMkLst>
        </pc:grpChg>
        <pc:picChg chg="del">
          <ac:chgData name="Müller, Kurt (SI BP S TSS ACD)" userId="e7e82c7e-80c6-42a5-ab71-24588885b7fe" providerId="ADAL" clId="{167FC261-9733-43D8-A9C5-B462733A4DDF}" dt="2021-11-05T12:05:24.199" v="1771" actId="478"/>
          <ac:picMkLst>
            <pc:docMk/>
            <pc:sldMk cId="2960129335" sldId="2512"/>
            <ac:picMk id="3" creationId="{79D35C79-2E1D-4F02-9CCF-675F03CA0BA5}"/>
          </ac:picMkLst>
        </pc:picChg>
        <pc:picChg chg="add del mod">
          <ac:chgData name="Müller, Kurt (SI BP S TSS ACD)" userId="e7e82c7e-80c6-42a5-ab71-24588885b7fe" providerId="ADAL" clId="{167FC261-9733-43D8-A9C5-B462733A4DDF}" dt="2021-11-05T12:05:41.785" v="1775"/>
          <ac:picMkLst>
            <pc:docMk/>
            <pc:sldMk cId="2960129335" sldId="2512"/>
            <ac:picMk id="5" creationId="{31E8EE30-6166-4FEA-A248-BF2E89FF4B6F}"/>
          </ac:picMkLst>
        </pc:picChg>
        <pc:picChg chg="add del mod">
          <ac:chgData name="Müller, Kurt (SI BP S TSS ACD)" userId="e7e82c7e-80c6-42a5-ab71-24588885b7fe" providerId="ADAL" clId="{167FC261-9733-43D8-A9C5-B462733A4DDF}" dt="2021-11-05T12:05:41.785" v="1775"/>
          <ac:picMkLst>
            <pc:docMk/>
            <pc:sldMk cId="2960129335" sldId="2512"/>
            <ac:picMk id="6" creationId="{429DB1D7-B154-4255-8BE5-684DC21B158F}"/>
          </ac:picMkLst>
        </pc:picChg>
        <pc:picChg chg="add mod">
          <ac:chgData name="Müller, Kurt (SI BP S TSS ACD)" userId="e7e82c7e-80c6-42a5-ab71-24588885b7fe" providerId="ADAL" clId="{167FC261-9733-43D8-A9C5-B462733A4DDF}" dt="2021-11-05T12:16:07.796" v="1837" actId="1076"/>
          <ac:picMkLst>
            <pc:docMk/>
            <pc:sldMk cId="2960129335" sldId="2512"/>
            <ac:picMk id="28" creationId="{06C58E7E-1C94-4BAB-989F-3E0D59CE45CF}"/>
          </ac:picMkLst>
        </pc:picChg>
        <pc:picChg chg="add mod">
          <ac:chgData name="Müller, Kurt (SI BP S TSS ACD)" userId="e7e82c7e-80c6-42a5-ab71-24588885b7fe" providerId="ADAL" clId="{167FC261-9733-43D8-A9C5-B462733A4DDF}" dt="2021-11-05T12:13:07.303" v="1784" actId="1076"/>
          <ac:picMkLst>
            <pc:docMk/>
            <pc:sldMk cId="2960129335" sldId="2512"/>
            <ac:picMk id="29" creationId="{5B35FD63-B2FA-46FF-A0EE-EB10E0DAECB0}"/>
          </ac:picMkLst>
        </pc:picChg>
        <pc:cxnChg chg="mod">
          <ac:chgData name="Müller, Kurt (SI BP S TSS ACD)" userId="e7e82c7e-80c6-42a5-ab71-24588885b7fe" providerId="ADAL" clId="{167FC261-9733-43D8-A9C5-B462733A4DDF}" dt="2021-11-05T12:05:33.494" v="1772"/>
          <ac:cxnSpMkLst>
            <pc:docMk/>
            <pc:sldMk cId="2960129335" sldId="2512"/>
            <ac:cxnSpMk id="9" creationId="{CEA1D01A-F05D-4776-B63D-2D84BFC6C358}"/>
          </ac:cxnSpMkLst>
        </pc:cxnChg>
        <pc:cxnChg chg="mod">
          <ac:chgData name="Müller, Kurt (SI BP S TSS ACD)" userId="e7e82c7e-80c6-42a5-ab71-24588885b7fe" providerId="ADAL" clId="{167FC261-9733-43D8-A9C5-B462733A4DDF}" dt="2021-11-05T12:05:33.494" v="1772"/>
          <ac:cxnSpMkLst>
            <pc:docMk/>
            <pc:sldMk cId="2960129335" sldId="2512"/>
            <ac:cxnSpMk id="11" creationId="{CD2F100F-1413-4C83-8751-8AF0CED4630C}"/>
          </ac:cxnSpMkLst>
        </pc:cxnChg>
        <pc:cxnChg chg="mod">
          <ac:chgData name="Müller, Kurt (SI BP S TSS ACD)" userId="e7e82c7e-80c6-42a5-ab71-24588885b7fe" providerId="ADAL" clId="{167FC261-9733-43D8-A9C5-B462733A4DDF}" dt="2021-11-05T12:05:33.494" v="1772"/>
          <ac:cxnSpMkLst>
            <pc:docMk/>
            <pc:sldMk cId="2960129335" sldId="2512"/>
            <ac:cxnSpMk id="15" creationId="{023F56D8-ACE6-4D15-AFF0-35552697D2A2}"/>
          </ac:cxnSpMkLst>
        </pc:cxnChg>
        <pc:cxnChg chg="mod">
          <ac:chgData name="Müller, Kurt (SI BP S TSS ACD)" userId="e7e82c7e-80c6-42a5-ab71-24588885b7fe" providerId="ADAL" clId="{167FC261-9733-43D8-A9C5-B462733A4DDF}" dt="2021-11-05T12:05:33.494" v="1772"/>
          <ac:cxnSpMkLst>
            <pc:docMk/>
            <pc:sldMk cId="2960129335" sldId="2512"/>
            <ac:cxnSpMk id="16" creationId="{A033C32A-B1F3-4D18-BE10-2F6FD2412D28}"/>
          </ac:cxnSpMkLst>
        </pc:cxnChg>
        <pc:cxnChg chg="mod">
          <ac:chgData name="Müller, Kurt (SI BP S TSS ACD)" userId="e7e82c7e-80c6-42a5-ab71-24588885b7fe" providerId="ADAL" clId="{167FC261-9733-43D8-A9C5-B462733A4DDF}" dt="2021-11-05T12:05:33.494" v="1772"/>
          <ac:cxnSpMkLst>
            <pc:docMk/>
            <pc:sldMk cId="2960129335" sldId="2512"/>
            <ac:cxnSpMk id="17" creationId="{751CF5FF-FC61-4346-8F7A-6B045FAB0465}"/>
          </ac:cxnSpMkLst>
        </pc:cxnChg>
        <pc:cxnChg chg="mod topLvl">
          <ac:chgData name="Müller, Kurt (SI BP S TSS ACD)" userId="e7e82c7e-80c6-42a5-ab71-24588885b7fe" providerId="ADAL" clId="{167FC261-9733-43D8-A9C5-B462733A4DDF}" dt="2021-11-05T12:15:49.224" v="1835" actId="165"/>
          <ac:cxnSpMkLst>
            <pc:docMk/>
            <pc:sldMk cId="2960129335" sldId="2512"/>
            <ac:cxnSpMk id="32" creationId="{6581F42B-016A-471C-8EE1-EAC5941AAB60}"/>
          </ac:cxnSpMkLst>
        </pc:cxnChg>
        <pc:cxnChg chg="mod topLvl">
          <ac:chgData name="Müller, Kurt (SI BP S TSS ACD)" userId="e7e82c7e-80c6-42a5-ab71-24588885b7fe" providerId="ADAL" clId="{167FC261-9733-43D8-A9C5-B462733A4DDF}" dt="2021-11-05T12:15:49.224" v="1835" actId="165"/>
          <ac:cxnSpMkLst>
            <pc:docMk/>
            <pc:sldMk cId="2960129335" sldId="2512"/>
            <ac:cxnSpMk id="34" creationId="{2F92DCB4-4AC4-4C18-95EE-EFC0D3CCC283}"/>
          </ac:cxnSpMkLst>
        </pc:cxnChg>
        <pc:cxnChg chg="mod topLvl">
          <ac:chgData name="Müller, Kurt (SI BP S TSS ACD)" userId="e7e82c7e-80c6-42a5-ab71-24588885b7fe" providerId="ADAL" clId="{167FC261-9733-43D8-A9C5-B462733A4DDF}" dt="2021-11-05T12:15:58.432" v="1836" actId="165"/>
          <ac:cxnSpMkLst>
            <pc:docMk/>
            <pc:sldMk cId="2960129335" sldId="2512"/>
            <ac:cxnSpMk id="38" creationId="{C8601233-D473-4020-90CA-54F152160016}"/>
          </ac:cxnSpMkLst>
        </pc:cxnChg>
        <pc:cxnChg chg="mod topLvl">
          <ac:chgData name="Müller, Kurt (SI BP S TSS ACD)" userId="e7e82c7e-80c6-42a5-ab71-24588885b7fe" providerId="ADAL" clId="{167FC261-9733-43D8-A9C5-B462733A4DDF}" dt="2021-11-05T12:15:58.432" v="1836" actId="165"/>
          <ac:cxnSpMkLst>
            <pc:docMk/>
            <pc:sldMk cId="2960129335" sldId="2512"/>
            <ac:cxnSpMk id="39" creationId="{6F5402A2-6783-4E47-B156-CDB1D9DB4919}"/>
          </ac:cxnSpMkLst>
        </pc:cxnChg>
        <pc:cxnChg chg="mod topLvl">
          <ac:chgData name="Müller, Kurt (SI BP S TSS ACD)" userId="e7e82c7e-80c6-42a5-ab71-24588885b7fe" providerId="ADAL" clId="{167FC261-9733-43D8-A9C5-B462733A4DDF}" dt="2021-11-05T12:15:58.432" v="1836" actId="165"/>
          <ac:cxnSpMkLst>
            <pc:docMk/>
            <pc:sldMk cId="2960129335" sldId="2512"/>
            <ac:cxnSpMk id="40" creationId="{9F8682BC-7E15-4BC8-BDBB-636141D865BF}"/>
          </ac:cxnSpMkLst>
        </pc:cxnChg>
      </pc:sldChg>
      <pc:sldChg chg="add del">
        <pc:chgData name="Müller, Kurt (SI BP S TSS ACD)" userId="e7e82c7e-80c6-42a5-ab71-24588885b7fe" providerId="ADAL" clId="{167FC261-9733-43D8-A9C5-B462733A4DDF}" dt="2021-11-02T09:32:13.046" v="734"/>
        <pc:sldMkLst>
          <pc:docMk/>
          <pc:sldMk cId="3545310842" sldId="2512"/>
        </pc:sldMkLst>
      </pc:sldChg>
      <pc:sldChg chg="add del">
        <pc:chgData name="Müller, Kurt (SI BP S TSS ACD)" userId="e7e82c7e-80c6-42a5-ab71-24588885b7fe" providerId="ADAL" clId="{167FC261-9733-43D8-A9C5-B462733A4DDF}" dt="2021-11-05T14:52:51.005" v="2356" actId="47"/>
        <pc:sldMkLst>
          <pc:docMk/>
          <pc:sldMk cId="2224613842" sldId="2513"/>
        </pc:sldMkLst>
      </pc:sldChg>
      <pc:sldChg chg="modSp add del mod">
        <pc:chgData name="Müller, Kurt (SI BP S TSS ACD)" userId="e7e82c7e-80c6-42a5-ab71-24588885b7fe" providerId="ADAL" clId="{167FC261-9733-43D8-A9C5-B462733A4DDF}" dt="2021-11-05T14:52:48.992" v="2355" actId="47"/>
        <pc:sldMkLst>
          <pc:docMk/>
          <pc:sldMk cId="2460484061" sldId="2514"/>
        </pc:sldMkLst>
        <pc:grpChg chg="mod">
          <ac:chgData name="Müller, Kurt (SI BP S TSS ACD)" userId="e7e82c7e-80c6-42a5-ab71-24588885b7fe" providerId="ADAL" clId="{167FC261-9733-43D8-A9C5-B462733A4DDF}" dt="2021-11-05T12:22:06.730" v="1875" actId="1076"/>
          <ac:grpSpMkLst>
            <pc:docMk/>
            <pc:sldMk cId="2460484061" sldId="2514"/>
            <ac:grpSpMk id="36" creationId="{68E9DE6C-D581-41FC-BE86-FE14CF275AE0}"/>
          </ac:grpSpMkLst>
        </pc:grpChg>
      </pc:sldChg>
      <pc:sldChg chg="addSp delSp modSp add mod delAnim modAnim">
        <pc:chgData name="Müller, Kurt (SI BP S TSS ACD)" userId="e7e82c7e-80c6-42a5-ab71-24588885b7fe" providerId="ADAL" clId="{167FC261-9733-43D8-A9C5-B462733A4DDF}" dt="2021-11-05T17:34:49.294" v="2553" actId="20577"/>
        <pc:sldMkLst>
          <pc:docMk/>
          <pc:sldMk cId="2044154474" sldId="2515"/>
        </pc:sldMkLst>
        <pc:spChg chg="add mod">
          <ac:chgData name="Müller, Kurt (SI BP S TSS ACD)" userId="e7e82c7e-80c6-42a5-ab71-24588885b7fe" providerId="ADAL" clId="{167FC261-9733-43D8-A9C5-B462733A4DDF}" dt="2021-11-05T12:29:33.264" v="1971" actId="14100"/>
          <ac:spMkLst>
            <pc:docMk/>
            <pc:sldMk cId="2044154474" sldId="2515"/>
            <ac:spMk id="19" creationId="{5A4B4BF5-0028-434A-9540-D977A5AB9646}"/>
          </ac:spMkLst>
        </pc:spChg>
        <pc:spChg chg="add del mod">
          <ac:chgData name="Müller, Kurt (SI BP S TSS ACD)" userId="e7e82c7e-80c6-42a5-ab71-24588885b7fe" providerId="ADAL" clId="{167FC261-9733-43D8-A9C5-B462733A4DDF}" dt="2021-11-05T12:23:20.535" v="1892" actId="478"/>
          <ac:spMkLst>
            <pc:docMk/>
            <pc:sldMk cId="2044154474" sldId="2515"/>
            <ac:spMk id="30" creationId="{2B378E44-8B9F-4857-8D1F-297081C2AC1B}"/>
          </ac:spMkLst>
        </pc:spChg>
        <pc:spChg chg="del">
          <ac:chgData name="Müller, Kurt (SI BP S TSS ACD)" userId="e7e82c7e-80c6-42a5-ab71-24588885b7fe" providerId="ADAL" clId="{167FC261-9733-43D8-A9C5-B462733A4DDF}" dt="2021-11-05T12:16:23.332" v="1841" actId="478"/>
          <ac:spMkLst>
            <pc:docMk/>
            <pc:sldMk cId="2044154474" sldId="2515"/>
            <ac:spMk id="31" creationId="{06109252-347B-4DF1-AE1D-E3560F1786A4}"/>
          </ac:spMkLst>
        </pc:spChg>
        <pc:spChg chg="del">
          <ac:chgData name="Müller, Kurt (SI BP S TSS ACD)" userId="e7e82c7e-80c6-42a5-ab71-24588885b7fe" providerId="ADAL" clId="{167FC261-9733-43D8-A9C5-B462733A4DDF}" dt="2021-11-05T12:16:22.262" v="1840" actId="478"/>
          <ac:spMkLst>
            <pc:docMk/>
            <pc:sldMk cId="2044154474" sldId="2515"/>
            <ac:spMk id="33" creationId="{C552103E-696F-4446-A6F4-E0B32C713733}"/>
          </ac:spMkLst>
        </pc:spChg>
        <pc:spChg chg="del">
          <ac:chgData name="Müller, Kurt (SI BP S TSS ACD)" userId="e7e82c7e-80c6-42a5-ab71-24588885b7fe" providerId="ADAL" clId="{167FC261-9733-43D8-A9C5-B462733A4DDF}" dt="2021-11-05T12:16:20.648" v="1839" actId="478"/>
          <ac:spMkLst>
            <pc:docMk/>
            <pc:sldMk cId="2044154474" sldId="2515"/>
            <ac:spMk id="35" creationId="{255D5292-DA29-42BF-9858-7C113ED7AF97}"/>
          </ac:spMkLst>
        </pc:spChg>
        <pc:spChg chg="add del mod">
          <ac:chgData name="Müller, Kurt (SI BP S TSS ACD)" userId="e7e82c7e-80c6-42a5-ab71-24588885b7fe" providerId="ADAL" clId="{167FC261-9733-43D8-A9C5-B462733A4DDF}" dt="2021-11-05T12:24:44.816" v="1919" actId="478"/>
          <ac:spMkLst>
            <pc:docMk/>
            <pc:sldMk cId="2044154474" sldId="2515"/>
            <ac:spMk id="36" creationId="{F4C199B6-BABD-41EB-8081-5F53D515FEA9}"/>
          </ac:spMkLst>
        </pc:spChg>
        <pc:spChg chg="del">
          <ac:chgData name="Müller, Kurt (SI BP S TSS ACD)" userId="e7e82c7e-80c6-42a5-ab71-24588885b7fe" providerId="ADAL" clId="{167FC261-9733-43D8-A9C5-B462733A4DDF}" dt="2021-11-05T12:16:25.097" v="1842" actId="478"/>
          <ac:spMkLst>
            <pc:docMk/>
            <pc:sldMk cId="2044154474" sldId="2515"/>
            <ac:spMk id="37" creationId="{0964B9DA-4BA8-45BB-8294-288281AD08ED}"/>
          </ac:spMkLst>
        </pc:spChg>
        <pc:spChg chg="del">
          <ac:chgData name="Müller, Kurt (SI BP S TSS ACD)" userId="e7e82c7e-80c6-42a5-ab71-24588885b7fe" providerId="ADAL" clId="{167FC261-9733-43D8-A9C5-B462733A4DDF}" dt="2021-11-05T12:16:26.559" v="1843" actId="478"/>
          <ac:spMkLst>
            <pc:docMk/>
            <pc:sldMk cId="2044154474" sldId="2515"/>
            <ac:spMk id="41" creationId="{57FA8397-952F-4784-BD5E-1A1A3676421C}"/>
          </ac:spMkLst>
        </pc:spChg>
        <pc:spChg chg="mod">
          <ac:chgData name="Müller, Kurt (SI BP S TSS ACD)" userId="e7e82c7e-80c6-42a5-ab71-24588885b7fe" providerId="ADAL" clId="{167FC261-9733-43D8-A9C5-B462733A4DDF}" dt="2021-11-05T12:16:33.890" v="1846" actId="6549"/>
          <ac:spMkLst>
            <pc:docMk/>
            <pc:sldMk cId="2044154474" sldId="2515"/>
            <ac:spMk id="44" creationId="{573E6403-CF9B-4290-9C5B-AAB16D26807D}"/>
          </ac:spMkLst>
        </pc:spChg>
        <pc:spChg chg="add mod">
          <ac:chgData name="Müller, Kurt (SI BP S TSS ACD)" userId="e7e82c7e-80c6-42a5-ab71-24588885b7fe" providerId="ADAL" clId="{167FC261-9733-43D8-A9C5-B462733A4DDF}" dt="2021-11-05T14:50:18.202" v="2309" actId="164"/>
          <ac:spMkLst>
            <pc:docMk/>
            <pc:sldMk cId="2044154474" sldId="2515"/>
            <ac:spMk id="52" creationId="{5102D233-F7A6-4A81-BC36-42A6A222DF17}"/>
          </ac:spMkLst>
        </pc:spChg>
        <pc:spChg chg="add mod">
          <ac:chgData name="Müller, Kurt (SI BP S TSS ACD)" userId="e7e82c7e-80c6-42a5-ab71-24588885b7fe" providerId="ADAL" clId="{167FC261-9733-43D8-A9C5-B462733A4DDF}" dt="2021-11-05T14:50:18.202" v="2309" actId="164"/>
          <ac:spMkLst>
            <pc:docMk/>
            <pc:sldMk cId="2044154474" sldId="2515"/>
            <ac:spMk id="58" creationId="{A3C32E91-6692-47EF-8E33-779BBE4C17EC}"/>
          </ac:spMkLst>
        </pc:spChg>
        <pc:spChg chg="add mod">
          <ac:chgData name="Müller, Kurt (SI BP S TSS ACD)" userId="e7e82c7e-80c6-42a5-ab71-24588885b7fe" providerId="ADAL" clId="{167FC261-9733-43D8-A9C5-B462733A4DDF}" dt="2021-11-05T14:50:52.595" v="2311" actId="164"/>
          <ac:spMkLst>
            <pc:docMk/>
            <pc:sldMk cId="2044154474" sldId="2515"/>
            <ac:spMk id="59" creationId="{D15F61C4-E11F-4D26-8FF2-514501A28CF1}"/>
          </ac:spMkLst>
        </pc:spChg>
        <pc:spChg chg="del mod topLvl">
          <ac:chgData name="Müller, Kurt (SI BP S TSS ACD)" userId="e7e82c7e-80c6-42a5-ab71-24588885b7fe" providerId="ADAL" clId="{167FC261-9733-43D8-A9C5-B462733A4DDF}" dt="2021-11-05T13:01:20.279" v="1998" actId="478"/>
          <ac:spMkLst>
            <pc:docMk/>
            <pc:sldMk cId="2044154474" sldId="2515"/>
            <ac:spMk id="61" creationId="{69303B0E-E9B8-4675-B669-4D40B3343EDB}"/>
          </ac:spMkLst>
        </pc:spChg>
        <pc:spChg chg="del mod topLvl">
          <ac:chgData name="Müller, Kurt (SI BP S TSS ACD)" userId="e7e82c7e-80c6-42a5-ab71-24588885b7fe" providerId="ADAL" clId="{167FC261-9733-43D8-A9C5-B462733A4DDF}" dt="2021-11-05T14:43:30.827" v="2094" actId="478"/>
          <ac:spMkLst>
            <pc:docMk/>
            <pc:sldMk cId="2044154474" sldId="2515"/>
            <ac:spMk id="62" creationId="{C6AD805D-829F-4087-974A-12C852FF4EF9}"/>
          </ac:spMkLst>
        </pc:spChg>
        <pc:spChg chg="add mod">
          <ac:chgData name="Müller, Kurt (SI BP S TSS ACD)" userId="e7e82c7e-80c6-42a5-ab71-24588885b7fe" providerId="ADAL" clId="{167FC261-9733-43D8-A9C5-B462733A4DDF}" dt="2021-11-05T12:30:36.903" v="1977" actId="1076"/>
          <ac:spMkLst>
            <pc:docMk/>
            <pc:sldMk cId="2044154474" sldId="2515"/>
            <ac:spMk id="63" creationId="{C0B2FE8C-BB83-4E6E-899E-8EFB84B050D1}"/>
          </ac:spMkLst>
        </pc:spChg>
        <pc:spChg chg="add mod">
          <ac:chgData name="Müller, Kurt (SI BP S TSS ACD)" userId="e7e82c7e-80c6-42a5-ab71-24588885b7fe" providerId="ADAL" clId="{167FC261-9733-43D8-A9C5-B462733A4DDF}" dt="2021-11-05T12:30:49.217" v="1981" actId="1076"/>
          <ac:spMkLst>
            <pc:docMk/>
            <pc:sldMk cId="2044154474" sldId="2515"/>
            <ac:spMk id="64" creationId="{99D68FCC-6B80-4308-BA33-D359A281C89E}"/>
          </ac:spMkLst>
        </pc:spChg>
        <pc:spChg chg="add mod">
          <ac:chgData name="Müller, Kurt (SI BP S TSS ACD)" userId="e7e82c7e-80c6-42a5-ab71-24588885b7fe" providerId="ADAL" clId="{167FC261-9733-43D8-A9C5-B462733A4DDF}" dt="2021-11-05T12:30:46.255" v="1980" actId="14100"/>
          <ac:spMkLst>
            <pc:docMk/>
            <pc:sldMk cId="2044154474" sldId="2515"/>
            <ac:spMk id="65" creationId="{FD14A94E-EC4A-416D-8B4F-E456FD632BAC}"/>
          </ac:spMkLst>
        </pc:spChg>
        <pc:spChg chg="del mod topLvl">
          <ac:chgData name="Müller, Kurt (SI BP S TSS ACD)" userId="e7e82c7e-80c6-42a5-ab71-24588885b7fe" providerId="ADAL" clId="{167FC261-9733-43D8-A9C5-B462733A4DDF}" dt="2021-11-05T14:39:36.401" v="2068" actId="478"/>
          <ac:spMkLst>
            <pc:docMk/>
            <pc:sldMk cId="2044154474" sldId="2515"/>
            <ac:spMk id="67" creationId="{4C8C8C50-D97A-4295-AC81-760EDB27FA58}"/>
          </ac:spMkLst>
        </pc:spChg>
        <pc:spChg chg="del mod topLvl">
          <ac:chgData name="Müller, Kurt (SI BP S TSS ACD)" userId="e7e82c7e-80c6-42a5-ab71-24588885b7fe" providerId="ADAL" clId="{167FC261-9733-43D8-A9C5-B462733A4DDF}" dt="2021-11-05T14:47:00.475" v="2226" actId="478"/>
          <ac:spMkLst>
            <pc:docMk/>
            <pc:sldMk cId="2044154474" sldId="2515"/>
            <ac:spMk id="68" creationId="{9875F72C-5A73-4F5D-B24A-64E7E94DCD1F}"/>
          </ac:spMkLst>
        </pc:spChg>
        <pc:spChg chg="del mod topLvl">
          <ac:chgData name="Müller, Kurt (SI BP S TSS ACD)" userId="e7e82c7e-80c6-42a5-ab71-24588885b7fe" providerId="ADAL" clId="{167FC261-9733-43D8-A9C5-B462733A4DDF}" dt="2021-11-05T14:45:16.520" v="2132" actId="478"/>
          <ac:spMkLst>
            <pc:docMk/>
            <pc:sldMk cId="2044154474" sldId="2515"/>
            <ac:spMk id="70" creationId="{E177ACF8-C030-4271-B8B2-136C9DFAA6FF}"/>
          </ac:spMkLst>
        </pc:spChg>
        <pc:spChg chg="mod topLvl">
          <ac:chgData name="Müller, Kurt (SI BP S TSS ACD)" userId="e7e82c7e-80c6-42a5-ab71-24588885b7fe" providerId="ADAL" clId="{167FC261-9733-43D8-A9C5-B462733A4DDF}" dt="2021-11-05T14:49:53.083" v="2308" actId="20577"/>
          <ac:spMkLst>
            <pc:docMk/>
            <pc:sldMk cId="2044154474" sldId="2515"/>
            <ac:spMk id="71" creationId="{DC8B5D5D-8604-4367-951F-35B720D45F58}"/>
          </ac:spMkLst>
        </pc:spChg>
        <pc:spChg chg="add mod">
          <ac:chgData name="Müller, Kurt (SI BP S TSS ACD)" userId="e7e82c7e-80c6-42a5-ab71-24588885b7fe" providerId="ADAL" clId="{167FC261-9733-43D8-A9C5-B462733A4DDF}" dt="2021-11-05T17:34:43.338" v="2544" actId="20577"/>
          <ac:spMkLst>
            <pc:docMk/>
            <pc:sldMk cId="2044154474" sldId="2515"/>
            <ac:spMk id="72" creationId="{E5360674-24A6-464A-9BAA-F4A75F0AE731}"/>
          </ac:spMkLst>
        </pc:spChg>
        <pc:spChg chg="add mod">
          <ac:chgData name="Müller, Kurt (SI BP S TSS ACD)" userId="e7e82c7e-80c6-42a5-ab71-24588885b7fe" providerId="ADAL" clId="{167FC261-9733-43D8-A9C5-B462733A4DDF}" dt="2021-11-05T17:34:49.294" v="2553" actId="20577"/>
          <ac:spMkLst>
            <pc:docMk/>
            <pc:sldMk cId="2044154474" sldId="2515"/>
            <ac:spMk id="73" creationId="{5D3F2879-8C2D-4421-953C-49A0204813D7}"/>
          </ac:spMkLst>
        </pc:spChg>
        <pc:spChg chg="add mod">
          <ac:chgData name="Müller, Kurt (SI BP S TSS ACD)" userId="e7e82c7e-80c6-42a5-ab71-24588885b7fe" providerId="ADAL" clId="{167FC261-9733-43D8-A9C5-B462733A4DDF}" dt="2021-11-05T14:50:18.202" v="2309" actId="164"/>
          <ac:spMkLst>
            <pc:docMk/>
            <pc:sldMk cId="2044154474" sldId="2515"/>
            <ac:spMk id="76" creationId="{86246617-C2B7-4E16-A71D-D328960F86FF}"/>
          </ac:spMkLst>
        </pc:spChg>
        <pc:spChg chg="add mod">
          <ac:chgData name="Müller, Kurt (SI BP S TSS ACD)" userId="e7e82c7e-80c6-42a5-ab71-24588885b7fe" providerId="ADAL" clId="{167FC261-9733-43D8-A9C5-B462733A4DDF}" dt="2021-11-05T14:43:14.282" v="2090" actId="206"/>
          <ac:spMkLst>
            <pc:docMk/>
            <pc:sldMk cId="2044154474" sldId="2515"/>
            <ac:spMk id="77" creationId="{F20C0A4C-5EE4-4800-9637-9526D0DAF1FB}"/>
          </ac:spMkLst>
        </pc:spChg>
        <pc:spChg chg="add mod">
          <ac:chgData name="Müller, Kurt (SI BP S TSS ACD)" userId="e7e82c7e-80c6-42a5-ab71-24588885b7fe" providerId="ADAL" clId="{167FC261-9733-43D8-A9C5-B462733A4DDF}" dt="2021-11-05T14:52:24.010" v="2353" actId="1076"/>
          <ac:spMkLst>
            <pc:docMk/>
            <pc:sldMk cId="2044154474" sldId="2515"/>
            <ac:spMk id="78" creationId="{323C1699-0732-4F4A-BBBE-BB59799335C1}"/>
          </ac:spMkLst>
        </pc:spChg>
        <pc:grpChg chg="del">
          <ac:chgData name="Müller, Kurt (SI BP S TSS ACD)" userId="e7e82c7e-80c6-42a5-ab71-24588885b7fe" providerId="ADAL" clId="{167FC261-9733-43D8-A9C5-B462733A4DDF}" dt="2021-11-05T12:16:35.322" v="1847" actId="478"/>
          <ac:grpSpMkLst>
            <pc:docMk/>
            <pc:sldMk cId="2044154474" sldId="2515"/>
            <ac:grpSpMk id="42" creationId="{611D049E-E494-4861-A4F5-4DC13FAD2271}"/>
          </ac:grpSpMkLst>
        </pc:grpChg>
        <pc:grpChg chg="del">
          <ac:chgData name="Müller, Kurt (SI BP S TSS ACD)" userId="e7e82c7e-80c6-42a5-ab71-24588885b7fe" providerId="ADAL" clId="{167FC261-9733-43D8-A9C5-B462733A4DDF}" dt="2021-11-05T12:16:32.507" v="1845" actId="478"/>
          <ac:grpSpMkLst>
            <pc:docMk/>
            <pc:sldMk cId="2044154474" sldId="2515"/>
            <ac:grpSpMk id="45" creationId="{A7918B46-47E8-43BA-87A7-A3D22C82EDAB}"/>
          </ac:grpSpMkLst>
        </pc:grpChg>
        <pc:grpChg chg="del">
          <ac:chgData name="Müller, Kurt (SI BP S TSS ACD)" userId="e7e82c7e-80c6-42a5-ab71-24588885b7fe" providerId="ADAL" clId="{167FC261-9733-43D8-A9C5-B462733A4DDF}" dt="2021-11-05T12:16:51.584" v="1851" actId="478"/>
          <ac:grpSpMkLst>
            <pc:docMk/>
            <pc:sldMk cId="2044154474" sldId="2515"/>
            <ac:grpSpMk id="48" creationId="{F457A8E3-C444-4235-8D02-FEA7067B6A6F}"/>
          </ac:grpSpMkLst>
        </pc:grpChg>
        <pc:grpChg chg="add del mod">
          <ac:chgData name="Müller, Kurt (SI BP S TSS ACD)" userId="e7e82c7e-80c6-42a5-ab71-24588885b7fe" providerId="ADAL" clId="{167FC261-9733-43D8-A9C5-B462733A4DDF}" dt="2021-11-05T12:44:43.441" v="1994" actId="165"/>
          <ac:grpSpMkLst>
            <pc:docMk/>
            <pc:sldMk cId="2044154474" sldId="2515"/>
            <ac:grpSpMk id="60" creationId="{F794EC3B-E4F8-4E1A-ADFE-31A73E3AF000}"/>
          </ac:grpSpMkLst>
        </pc:grpChg>
        <pc:grpChg chg="add del mod">
          <ac:chgData name="Müller, Kurt (SI BP S TSS ACD)" userId="e7e82c7e-80c6-42a5-ab71-24588885b7fe" providerId="ADAL" clId="{167FC261-9733-43D8-A9C5-B462733A4DDF}" dt="2021-11-05T13:02:01.138" v="2001" actId="165"/>
          <ac:grpSpMkLst>
            <pc:docMk/>
            <pc:sldMk cId="2044154474" sldId="2515"/>
            <ac:grpSpMk id="66" creationId="{25DDF35C-DB19-4FF0-8941-0E4E844CB470}"/>
          </ac:grpSpMkLst>
        </pc:grpChg>
        <pc:grpChg chg="add del mod">
          <ac:chgData name="Müller, Kurt (SI BP S TSS ACD)" userId="e7e82c7e-80c6-42a5-ab71-24588885b7fe" providerId="ADAL" clId="{167FC261-9733-43D8-A9C5-B462733A4DDF}" dt="2021-11-05T13:02:01.138" v="2001" actId="165"/>
          <ac:grpSpMkLst>
            <pc:docMk/>
            <pc:sldMk cId="2044154474" sldId="2515"/>
            <ac:grpSpMk id="69" creationId="{C1264CA9-CE06-4735-BF69-8238980B3D44}"/>
          </ac:grpSpMkLst>
        </pc:grpChg>
        <pc:grpChg chg="add mod">
          <ac:chgData name="Müller, Kurt (SI BP S TSS ACD)" userId="e7e82c7e-80c6-42a5-ab71-24588885b7fe" providerId="ADAL" clId="{167FC261-9733-43D8-A9C5-B462733A4DDF}" dt="2021-11-05T14:50:18.202" v="2309" actId="164"/>
          <ac:grpSpMkLst>
            <pc:docMk/>
            <pc:sldMk cId="2044154474" sldId="2515"/>
            <ac:grpSpMk id="79" creationId="{8D33825A-9BDE-46A8-9BA9-BEF94AA593DC}"/>
          </ac:grpSpMkLst>
        </pc:grpChg>
        <pc:grpChg chg="add mod">
          <ac:chgData name="Müller, Kurt (SI BP S TSS ACD)" userId="e7e82c7e-80c6-42a5-ab71-24588885b7fe" providerId="ADAL" clId="{167FC261-9733-43D8-A9C5-B462733A4DDF}" dt="2021-11-05T14:50:52.595" v="2311" actId="164"/>
          <ac:grpSpMkLst>
            <pc:docMk/>
            <pc:sldMk cId="2044154474" sldId="2515"/>
            <ac:grpSpMk id="80" creationId="{D0AFF3CA-C878-425F-850D-F667BA5E48D1}"/>
          </ac:grpSpMkLst>
        </pc:grpChg>
        <pc:picChg chg="add mod">
          <ac:chgData name="Müller, Kurt (SI BP S TSS ACD)" userId="e7e82c7e-80c6-42a5-ab71-24588885b7fe" providerId="ADAL" clId="{167FC261-9733-43D8-A9C5-B462733A4DDF}" dt="2021-11-05T14:39:56.413" v="2072" actId="1076"/>
          <ac:picMkLst>
            <pc:docMk/>
            <pc:sldMk cId="2044154474" sldId="2515"/>
            <ac:picMk id="3" creationId="{C429F226-0310-47E3-B107-6824B9FA8839}"/>
          </ac:picMkLst>
        </pc:picChg>
        <pc:picChg chg="add del">
          <ac:chgData name="Müller, Kurt (SI BP S TSS ACD)" userId="e7e82c7e-80c6-42a5-ab71-24588885b7fe" providerId="ADAL" clId="{167FC261-9733-43D8-A9C5-B462733A4DDF}" dt="2021-11-05T12:20:27.169" v="1860" actId="478"/>
          <ac:picMkLst>
            <pc:docMk/>
            <pc:sldMk cId="2044154474" sldId="2515"/>
            <ac:picMk id="6" creationId="{CD4C9781-7881-43B5-A365-E239F76C1F0F}"/>
          </ac:picMkLst>
        </pc:picChg>
        <pc:picChg chg="del mod modCrop">
          <ac:chgData name="Müller, Kurt (SI BP S TSS ACD)" userId="e7e82c7e-80c6-42a5-ab71-24588885b7fe" providerId="ADAL" clId="{167FC261-9733-43D8-A9C5-B462733A4DDF}" dt="2021-11-05T12:20:04.355" v="1855" actId="478"/>
          <ac:picMkLst>
            <pc:docMk/>
            <pc:sldMk cId="2044154474" sldId="2515"/>
            <ac:picMk id="28" creationId="{06C58E7E-1C94-4BAB-989F-3E0D59CE45CF}"/>
          </ac:picMkLst>
        </pc:picChg>
        <pc:picChg chg="del">
          <ac:chgData name="Müller, Kurt (SI BP S TSS ACD)" userId="e7e82c7e-80c6-42a5-ab71-24588885b7fe" providerId="ADAL" clId="{167FC261-9733-43D8-A9C5-B462733A4DDF}" dt="2021-11-05T12:16:46.211" v="1850" actId="478"/>
          <ac:picMkLst>
            <pc:docMk/>
            <pc:sldMk cId="2044154474" sldId="2515"/>
            <ac:picMk id="29" creationId="{5B35FD63-B2FA-46FF-A0EE-EB10E0DAECB0}"/>
          </ac:picMkLst>
        </pc:picChg>
        <pc:cxnChg chg="del">
          <ac:chgData name="Müller, Kurt (SI BP S TSS ACD)" userId="e7e82c7e-80c6-42a5-ab71-24588885b7fe" providerId="ADAL" clId="{167FC261-9733-43D8-A9C5-B462733A4DDF}" dt="2021-11-05T12:16:30.875" v="1844" actId="478"/>
          <ac:cxnSpMkLst>
            <pc:docMk/>
            <pc:sldMk cId="2044154474" sldId="2515"/>
            <ac:cxnSpMk id="32" creationId="{6581F42B-016A-471C-8EE1-EAC5941AAB60}"/>
          </ac:cxnSpMkLst>
        </pc:cxnChg>
        <pc:cxnChg chg="del mod">
          <ac:chgData name="Müller, Kurt (SI BP S TSS ACD)" userId="e7e82c7e-80c6-42a5-ab71-24588885b7fe" providerId="ADAL" clId="{167FC261-9733-43D8-A9C5-B462733A4DDF}" dt="2021-11-05T12:16:30.875" v="1844" actId="478"/>
          <ac:cxnSpMkLst>
            <pc:docMk/>
            <pc:sldMk cId="2044154474" sldId="2515"/>
            <ac:cxnSpMk id="34" creationId="{2F92DCB4-4AC4-4C18-95EE-EFC0D3CCC283}"/>
          </ac:cxnSpMkLst>
        </pc:cxnChg>
        <pc:cxnChg chg="del">
          <ac:chgData name="Müller, Kurt (SI BP S TSS ACD)" userId="e7e82c7e-80c6-42a5-ab71-24588885b7fe" providerId="ADAL" clId="{167FC261-9733-43D8-A9C5-B462733A4DDF}" dt="2021-11-05T12:16:30.875" v="1844" actId="478"/>
          <ac:cxnSpMkLst>
            <pc:docMk/>
            <pc:sldMk cId="2044154474" sldId="2515"/>
            <ac:cxnSpMk id="38" creationId="{C8601233-D473-4020-90CA-54F152160016}"/>
          </ac:cxnSpMkLst>
        </pc:cxnChg>
        <pc:cxnChg chg="del">
          <ac:chgData name="Müller, Kurt (SI BP S TSS ACD)" userId="e7e82c7e-80c6-42a5-ab71-24588885b7fe" providerId="ADAL" clId="{167FC261-9733-43D8-A9C5-B462733A4DDF}" dt="2021-11-05T12:16:30.875" v="1844" actId="478"/>
          <ac:cxnSpMkLst>
            <pc:docMk/>
            <pc:sldMk cId="2044154474" sldId="2515"/>
            <ac:cxnSpMk id="39" creationId="{6F5402A2-6783-4E47-B156-CDB1D9DB4919}"/>
          </ac:cxnSpMkLst>
        </pc:cxnChg>
        <pc:cxnChg chg="del">
          <ac:chgData name="Müller, Kurt (SI BP S TSS ACD)" userId="e7e82c7e-80c6-42a5-ab71-24588885b7fe" providerId="ADAL" clId="{167FC261-9733-43D8-A9C5-B462733A4DDF}" dt="2021-11-05T12:16:30.875" v="1844" actId="478"/>
          <ac:cxnSpMkLst>
            <pc:docMk/>
            <pc:sldMk cId="2044154474" sldId="2515"/>
            <ac:cxnSpMk id="40" creationId="{9F8682BC-7E15-4BC8-BDBB-636141D865BF}"/>
          </ac:cxnSpMkLst>
        </pc:cxnChg>
        <pc:cxnChg chg="add del mod">
          <ac:chgData name="Müller, Kurt (SI BP S TSS ACD)" userId="e7e82c7e-80c6-42a5-ab71-24588885b7fe" providerId="ADAL" clId="{167FC261-9733-43D8-A9C5-B462733A4DDF}" dt="2021-11-05T14:37:11.993" v="2038" actId="478"/>
          <ac:cxnSpMkLst>
            <pc:docMk/>
            <pc:sldMk cId="2044154474" sldId="2515"/>
            <ac:cxnSpMk id="53" creationId="{67EB4F6E-39CC-40E6-992E-9090A84AA456}"/>
          </ac:cxnSpMkLst>
        </pc:cxnChg>
        <pc:cxnChg chg="add mod">
          <ac:chgData name="Müller, Kurt (SI BP S TSS ACD)" userId="e7e82c7e-80c6-42a5-ab71-24588885b7fe" providerId="ADAL" clId="{167FC261-9733-43D8-A9C5-B462733A4DDF}" dt="2021-11-05T15:08:15.819" v="2362" actId="14100"/>
          <ac:cxnSpMkLst>
            <pc:docMk/>
            <pc:sldMk cId="2044154474" sldId="2515"/>
            <ac:cxnSpMk id="54" creationId="{214CE9D2-141F-47CD-8075-254CE7A342EE}"/>
          </ac:cxnSpMkLst>
        </pc:cxnChg>
        <pc:cxnChg chg="add mod">
          <ac:chgData name="Müller, Kurt (SI BP S TSS ACD)" userId="e7e82c7e-80c6-42a5-ab71-24588885b7fe" providerId="ADAL" clId="{167FC261-9733-43D8-A9C5-B462733A4DDF}" dt="2021-11-05T14:50:52.595" v="2311" actId="164"/>
          <ac:cxnSpMkLst>
            <pc:docMk/>
            <pc:sldMk cId="2044154474" sldId="2515"/>
            <ac:cxnSpMk id="55" creationId="{310614F0-FF3B-4122-A542-35D177640DE9}"/>
          </ac:cxnSpMkLst>
        </pc:cxnChg>
        <pc:cxnChg chg="add mod">
          <ac:chgData name="Müller, Kurt (SI BP S TSS ACD)" userId="e7e82c7e-80c6-42a5-ab71-24588885b7fe" providerId="ADAL" clId="{167FC261-9733-43D8-A9C5-B462733A4DDF}" dt="2021-11-05T14:50:52.595" v="2311" actId="164"/>
          <ac:cxnSpMkLst>
            <pc:docMk/>
            <pc:sldMk cId="2044154474" sldId="2515"/>
            <ac:cxnSpMk id="56" creationId="{93657AF2-7CDE-4D15-8EA8-AA24BA3C6854}"/>
          </ac:cxnSpMkLst>
        </pc:cxnChg>
        <pc:cxnChg chg="add mod">
          <ac:chgData name="Müller, Kurt (SI BP S TSS ACD)" userId="e7e82c7e-80c6-42a5-ab71-24588885b7fe" providerId="ADAL" clId="{167FC261-9733-43D8-A9C5-B462733A4DDF}" dt="2021-11-05T14:50:52.595" v="2311" actId="164"/>
          <ac:cxnSpMkLst>
            <pc:docMk/>
            <pc:sldMk cId="2044154474" sldId="2515"/>
            <ac:cxnSpMk id="57" creationId="{5A13942F-B0CA-450E-B56D-DDAD8BF2F42C}"/>
          </ac:cxnSpMkLst>
        </pc:cxnChg>
      </pc:sldChg>
      <pc:sldChg chg="addSp delSp modSp add mod ord">
        <pc:chgData name="Müller, Kurt (SI BP S TSS ACD)" userId="e7e82c7e-80c6-42a5-ab71-24588885b7fe" providerId="ADAL" clId="{167FC261-9733-43D8-A9C5-B462733A4DDF}" dt="2021-11-05T17:49:54.434" v="2711"/>
        <pc:sldMkLst>
          <pc:docMk/>
          <pc:sldMk cId="4234920442" sldId="2516"/>
        </pc:sldMkLst>
        <pc:spChg chg="add mod">
          <ac:chgData name="Müller, Kurt (SI BP S TSS ACD)" userId="e7e82c7e-80c6-42a5-ab71-24588885b7fe" providerId="ADAL" clId="{167FC261-9733-43D8-A9C5-B462733A4DDF}" dt="2021-11-05T17:48:24.152" v="2686" actId="208"/>
          <ac:spMkLst>
            <pc:docMk/>
            <pc:sldMk cId="4234920442" sldId="2516"/>
            <ac:spMk id="3" creationId="{1F4419A3-F05F-4041-9835-78A3D4A5AF02}"/>
          </ac:spMkLst>
        </pc:spChg>
        <pc:spChg chg="mod">
          <ac:chgData name="Müller, Kurt (SI BP S TSS ACD)" userId="e7e82c7e-80c6-42a5-ab71-24588885b7fe" providerId="ADAL" clId="{167FC261-9733-43D8-A9C5-B462733A4DDF}" dt="2021-11-05T17:41:47.824" v="2591" actId="164"/>
          <ac:spMkLst>
            <pc:docMk/>
            <pc:sldMk cId="4234920442" sldId="2516"/>
            <ac:spMk id="6" creationId="{CE475B5A-824F-407D-B010-5E5B45D89E6B}"/>
          </ac:spMkLst>
        </pc:spChg>
        <pc:spChg chg="del mod">
          <ac:chgData name="Müller, Kurt (SI BP S TSS ACD)" userId="e7e82c7e-80c6-42a5-ab71-24588885b7fe" providerId="ADAL" clId="{167FC261-9733-43D8-A9C5-B462733A4DDF}" dt="2021-11-05T17:44:57.520" v="2627" actId="478"/>
          <ac:spMkLst>
            <pc:docMk/>
            <pc:sldMk cId="4234920442" sldId="2516"/>
            <ac:spMk id="32" creationId="{7D5D708D-4826-49EF-A2E5-C6BF73A63807}"/>
          </ac:spMkLst>
        </pc:spChg>
        <pc:spChg chg="mod">
          <ac:chgData name="Müller, Kurt (SI BP S TSS ACD)" userId="e7e82c7e-80c6-42a5-ab71-24588885b7fe" providerId="ADAL" clId="{167FC261-9733-43D8-A9C5-B462733A4DDF}" dt="2021-11-05T17:48:11.665" v="2684" actId="1076"/>
          <ac:spMkLst>
            <pc:docMk/>
            <pc:sldMk cId="4234920442" sldId="2516"/>
            <ac:spMk id="35" creationId="{E11662F6-A4F9-48D6-893C-C0925893F19E}"/>
          </ac:spMkLst>
        </pc:spChg>
        <pc:spChg chg="del mod">
          <ac:chgData name="Müller, Kurt (SI BP S TSS ACD)" userId="e7e82c7e-80c6-42a5-ab71-24588885b7fe" providerId="ADAL" clId="{167FC261-9733-43D8-A9C5-B462733A4DDF}" dt="2021-11-05T15:14:12.230" v="2457" actId="478"/>
          <ac:spMkLst>
            <pc:docMk/>
            <pc:sldMk cId="4234920442" sldId="2516"/>
            <ac:spMk id="40" creationId="{80AD5E00-1F1B-4449-8B7B-D330FA3ACED8}"/>
          </ac:spMkLst>
        </pc:spChg>
        <pc:spChg chg="mod">
          <ac:chgData name="Müller, Kurt (SI BP S TSS ACD)" userId="e7e82c7e-80c6-42a5-ab71-24588885b7fe" providerId="ADAL" clId="{167FC261-9733-43D8-A9C5-B462733A4DDF}" dt="2021-11-05T17:42:04.648" v="2595" actId="164"/>
          <ac:spMkLst>
            <pc:docMk/>
            <pc:sldMk cId="4234920442" sldId="2516"/>
            <ac:spMk id="42" creationId="{9DC30CDE-A632-4DC9-B097-521C16ABF36C}"/>
          </ac:spMkLst>
        </pc:spChg>
        <pc:spChg chg="mod">
          <ac:chgData name="Müller, Kurt (SI BP S TSS ACD)" userId="e7e82c7e-80c6-42a5-ab71-24588885b7fe" providerId="ADAL" clId="{167FC261-9733-43D8-A9C5-B462733A4DDF}" dt="2021-11-05T17:46:44.281" v="2671" actId="207"/>
          <ac:spMkLst>
            <pc:docMk/>
            <pc:sldMk cId="4234920442" sldId="2516"/>
            <ac:spMk id="44" creationId="{1410FC1A-4E5E-404E-AEC7-57FD30C36D45}"/>
          </ac:spMkLst>
        </pc:spChg>
        <pc:spChg chg="mod">
          <ac:chgData name="Müller, Kurt (SI BP S TSS ACD)" userId="e7e82c7e-80c6-42a5-ab71-24588885b7fe" providerId="ADAL" clId="{167FC261-9733-43D8-A9C5-B462733A4DDF}" dt="2021-11-05T17:41:51.600" v="2592" actId="571"/>
          <ac:spMkLst>
            <pc:docMk/>
            <pc:sldMk cId="4234920442" sldId="2516"/>
            <ac:spMk id="46" creationId="{037C4E5A-9A82-42CE-B60E-2BD89FAC93F9}"/>
          </ac:spMkLst>
        </pc:spChg>
        <pc:spChg chg="mod">
          <ac:chgData name="Müller, Kurt (SI BP S TSS ACD)" userId="e7e82c7e-80c6-42a5-ab71-24588885b7fe" providerId="ADAL" clId="{167FC261-9733-43D8-A9C5-B462733A4DDF}" dt="2021-11-05T17:41:51.600" v="2592" actId="571"/>
          <ac:spMkLst>
            <pc:docMk/>
            <pc:sldMk cId="4234920442" sldId="2516"/>
            <ac:spMk id="47" creationId="{E0841004-ABE4-4B26-AB8C-F26F228D944D}"/>
          </ac:spMkLst>
        </pc:spChg>
        <pc:spChg chg="mod">
          <ac:chgData name="Müller, Kurt (SI BP S TSS ACD)" userId="e7e82c7e-80c6-42a5-ab71-24588885b7fe" providerId="ADAL" clId="{167FC261-9733-43D8-A9C5-B462733A4DDF}" dt="2021-11-05T17:41:51.600" v="2592" actId="571"/>
          <ac:spMkLst>
            <pc:docMk/>
            <pc:sldMk cId="4234920442" sldId="2516"/>
            <ac:spMk id="48" creationId="{13D87153-DFB8-4D8B-9136-6BDADE828E06}"/>
          </ac:spMkLst>
        </pc:spChg>
        <pc:spChg chg="mod ord topLvl">
          <ac:chgData name="Müller, Kurt (SI BP S TSS ACD)" userId="e7e82c7e-80c6-42a5-ab71-24588885b7fe" providerId="ADAL" clId="{167FC261-9733-43D8-A9C5-B462733A4DDF}" dt="2021-11-05T17:44:31.271" v="2620" actId="20577"/>
          <ac:spMkLst>
            <pc:docMk/>
            <pc:sldMk cId="4234920442" sldId="2516"/>
            <ac:spMk id="50" creationId="{82EA6314-6583-446B-83B8-5B6C0F6EFC83}"/>
          </ac:spMkLst>
        </pc:spChg>
        <pc:spChg chg="mod">
          <ac:chgData name="Müller, Kurt (SI BP S TSS ACD)" userId="e7e82c7e-80c6-42a5-ab71-24588885b7fe" providerId="ADAL" clId="{167FC261-9733-43D8-A9C5-B462733A4DDF}" dt="2021-11-05T17:43:15.744" v="2610" actId="14100"/>
          <ac:spMkLst>
            <pc:docMk/>
            <pc:sldMk cId="4234920442" sldId="2516"/>
            <ac:spMk id="52" creationId="{41003BC1-A629-4712-A827-5C6078FACAD9}"/>
          </ac:spMkLst>
        </pc:spChg>
        <pc:spChg chg="mod">
          <ac:chgData name="Müller, Kurt (SI BP S TSS ACD)" userId="e7e82c7e-80c6-42a5-ab71-24588885b7fe" providerId="ADAL" clId="{167FC261-9733-43D8-A9C5-B462733A4DDF}" dt="2021-11-05T17:43:26.496" v="2611" actId="1076"/>
          <ac:spMkLst>
            <pc:docMk/>
            <pc:sldMk cId="4234920442" sldId="2516"/>
            <ac:spMk id="53" creationId="{9CDDE60F-D545-4E4F-B845-5A969BDEB633}"/>
          </ac:spMkLst>
        </pc:spChg>
        <pc:spChg chg="mod">
          <ac:chgData name="Müller, Kurt (SI BP S TSS ACD)" userId="e7e82c7e-80c6-42a5-ab71-24588885b7fe" providerId="ADAL" clId="{167FC261-9733-43D8-A9C5-B462733A4DDF}" dt="2021-11-05T17:43:03.587" v="2606" actId="571"/>
          <ac:spMkLst>
            <pc:docMk/>
            <pc:sldMk cId="4234920442" sldId="2516"/>
            <ac:spMk id="55" creationId="{EAF8F45D-86BA-4841-916B-A8D8D7722C9A}"/>
          </ac:spMkLst>
        </pc:spChg>
        <pc:spChg chg="add del mod">
          <ac:chgData name="Müller, Kurt (SI BP S TSS ACD)" userId="e7e82c7e-80c6-42a5-ab71-24588885b7fe" providerId="ADAL" clId="{167FC261-9733-43D8-A9C5-B462733A4DDF}" dt="2021-11-05T17:43:04.960" v="2607" actId="478"/>
          <ac:spMkLst>
            <pc:docMk/>
            <pc:sldMk cId="4234920442" sldId="2516"/>
            <ac:spMk id="56" creationId="{0B7A339F-D66D-4BE0-9047-47AF908C080D}"/>
          </ac:spMkLst>
        </pc:spChg>
        <pc:spChg chg="add mod">
          <ac:chgData name="Müller, Kurt (SI BP S TSS ACD)" userId="e7e82c7e-80c6-42a5-ab71-24588885b7fe" providerId="ADAL" clId="{167FC261-9733-43D8-A9C5-B462733A4DDF}" dt="2021-11-05T17:48:43.272" v="2694" actId="1076"/>
          <ac:spMkLst>
            <pc:docMk/>
            <pc:sldMk cId="4234920442" sldId="2516"/>
            <ac:spMk id="57" creationId="{0831E0C2-F9ED-485E-9FA1-B1E00713ACC6}"/>
          </ac:spMkLst>
        </pc:spChg>
        <pc:spChg chg="mod">
          <ac:chgData name="Müller, Kurt (SI BP S TSS ACD)" userId="e7e82c7e-80c6-42a5-ab71-24588885b7fe" providerId="ADAL" clId="{167FC261-9733-43D8-A9C5-B462733A4DDF}" dt="2021-11-05T17:46:05.049" v="2665" actId="1076"/>
          <ac:spMkLst>
            <pc:docMk/>
            <pc:sldMk cId="4234920442" sldId="2516"/>
            <ac:spMk id="59" creationId="{87AB1B76-ECD4-4B0B-BA6E-B68E55034277}"/>
          </ac:spMkLst>
        </pc:spChg>
        <pc:spChg chg="mod">
          <ac:chgData name="Müller, Kurt (SI BP S TSS ACD)" userId="e7e82c7e-80c6-42a5-ab71-24588885b7fe" providerId="ADAL" clId="{167FC261-9733-43D8-A9C5-B462733A4DDF}" dt="2021-11-05T17:46:05.049" v="2665" actId="1076"/>
          <ac:spMkLst>
            <pc:docMk/>
            <pc:sldMk cId="4234920442" sldId="2516"/>
            <ac:spMk id="60" creationId="{A32A6BC7-9034-48C5-A9B2-87EB8D53E4D0}"/>
          </ac:spMkLst>
        </pc:spChg>
        <pc:spChg chg="mod">
          <ac:chgData name="Müller, Kurt (SI BP S TSS ACD)" userId="e7e82c7e-80c6-42a5-ab71-24588885b7fe" providerId="ADAL" clId="{167FC261-9733-43D8-A9C5-B462733A4DDF}" dt="2021-11-05T17:46:05.049" v="2665" actId="1076"/>
          <ac:spMkLst>
            <pc:docMk/>
            <pc:sldMk cId="4234920442" sldId="2516"/>
            <ac:spMk id="61" creationId="{D8B15544-50A0-4B09-9DCD-3D584BF6DDF7}"/>
          </ac:spMkLst>
        </pc:spChg>
        <pc:spChg chg="mod">
          <ac:chgData name="Müller, Kurt (SI BP S TSS ACD)" userId="e7e82c7e-80c6-42a5-ab71-24588885b7fe" providerId="ADAL" clId="{167FC261-9733-43D8-A9C5-B462733A4DDF}" dt="2021-11-05T17:46:05.049" v="2665" actId="1076"/>
          <ac:spMkLst>
            <pc:docMk/>
            <pc:sldMk cId="4234920442" sldId="2516"/>
            <ac:spMk id="62" creationId="{DCC4F5FC-28B6-4AD9-BCDD-22273C7D0AF4}"/>
          </ac:spMkLst>
        </pc:spChg>
        <pc:spChg chg="mod">
          <ac:chgData name="Müller, Kurt (SI BP S TSS ACD)" userId="e7e82c7e-80c6-42a5-ab71-24588885b7fe" providerId="ADAL" clId="{167FC261-9733-43D8-A9C5-B462733A4DDF}" dt="2021-11-05T17:46:05.049" v="2665" actId="1076"/>
          <ac:spMkLst>
            <pc:docMk/>
            <pc:sldMk cId="4234920442" sldId="2516"/>
            <ac:spMk id="63" creationId="{188857FE-D1D1-43E3-8477-830B2D496D74}"/>
          </ac:spMkLst>
        </pc:spChg>
        <pc:spChg chg="mod">
          <ac:chgData name="Müller, Kurt (SI BP S TSS ACD)" userId="e7e82c7e-80c6-42a5-ab71-24588885b7fe" providerId="ADAL" clId="{167FC261-9733-43D8-A9C5-B462733A4DDF}" dt="2021-11-05T17:46:05.049" v="2665" actId="1076"/>
          <ac:spMkLst>
            <pc:docMk/>
            <pc:sldMk cId="4234920442" sldId="2516"/>
            <ac:spMk id="64" creationId="{EF5A2B92-7F16-4273-A3C9-1F4FAD5F3C35}"/>
          </ac:spMkLst>
        </pc:spChg>
        <pc:spChg chg="mod">
          <ac:chgData name="Müller, Kurt (SI BP S TSS ACD)" userId="e7e82c7e-80c6-42a5-ab71-24588885b7fe" providerId="ADAL" clId="{167FC261-9733-43D8-A9C5-B462733A4DDF}" dt="2021-11-05T17:41:47.824" v="2591" actId="164"/>
          <ac:spMkLst>
            <pc:docMk/>
            <pc:sldMk cId="4234920442" sldId="2516"/>
            <ac:spMk id="68" creationId="{81DEFBD9-996F-4744-9D19-87C302DBDDD6}"/>
          </ac:spMkLst>
        </pc:spChg>
        <pc:spChg chg="mod">
          <ac:chgData name="Müller, Kurt (SI BP S TSS ACD)" userId="e7e82c7e-80c6-42a5-ab71-24588885b7fe" providerId="ADAL" clId="{167FC261-9733-43D8-A9C5-B462733A4DDF}" dt="2021-11-05T17:41:47.824" v="2591" actId="164"/>
          <ac:spMkLst>
            <pc:docMk/>
            <pc:sldMk cId="4234920442" sldId="2516"/>
            <ac:spMk id="69" creationId="{08D66FE7-E0AA-4881-93C2-CD9D62BA5D27}"/>
          </ac:spMkLst>
        </pc:spChg>
        <pc:spChg chg="mod">
          <ac:chgData name="Müller, Kurt (SI BP S TSS ACD)" userId="e7e82c7e-80c6-42a5-ab71-24588885b7fe" providerId="ADAL" clId="{167FC261-9733-43D8-A9C5-B462733A4DDF}" dt="2021-11-05T17:46:05.049" v="2665" actId="1076"/>
          <ac:spMkLst>
            <pc:docMk/>
            <pc:sldMk cId="4234920442" sldId="2516"/>
            <ac:spMk id="79" creationId="{B6A23980-07F1-43FF-821E-C1BFC7D1E2E1}"/>
          </ac:spMkLst>
        </pc:spChg>
        <pc:spChg chg="mod">
          <ac:chgData name="Müller, Kurt (SI BP S TSS ACD)" userId="e7e82c7e-80c6-42a5-ab71-24588885b7fe" providerId="ADAL" clId="{167FC261-9733-43D8-A9C5-B462733A4DDF}" dt="2021-11-05T17:46:05.049" v="2665" actId="1076"/>
          <ac:spMkLst>
            <pc:docMk/>
            <pc:sldMk cId="4234920442" sldId="2516"/>
            <ac:spMk id="82" creationId="{CF7F1FEA-5F0A-4828-AB1A-3520C37CE0AE}"/>
          </ac:spMkLst>
        </pc:spChg>
        <pc:spChg chg="del mod">
          <ac:chgData name="Müller, Kurt (SI BP S TSS ACD)" userId="e7e82c7e-80c6-42a5-ab71-24588885b7fe" providerId="ADAL" clId="{167FC261-9733-43D8-A9C5-B462733A4DDF}" dt="2021-11-05T17:43:45.701" v="2613" actId="478"/>
          <ac:spMkLst>
            <pc:docMk/>
            <pc:sldMk cId="4234920442" sldId="2516"/>
            <ac:spMk id="93" creationId="{1A3F485C-DF6D-4612-8BF4-146A211AA7B5}"/>
          </ac:spMkLst>
        </pc:spChg>
        <pc:grpChg chg="add mod">
          <ac:chgData name="Müller, Kurt (SI BP S TSS ACD)" userId="e7e82c7e-80c6-42a5-ab71-24588885b7fe" providerId="ADAL" clId="{167FC261-9733-43D8-A9C5-B462733A4DDF}" dt="2021-11-05T17:42:04.648" v="2595" actId="164"/>
          <ac:grpSpMkLst>
            <pc:docMk/>
            <pc:sldMk cId="4234920442" sldId="2516"/>
            <ac:grpSpMk id="4" creationId="{C2FCFCD9-E92D-4418-B710-36C9453CF1EE}"/>
          </ac:grpSpMkLst>
        </pc:grpChg>
        <pc:grpChg chg="add del mod">
          <ac:chgData name="Müller, Kurt (SI BP S TSS ACD)" userId="e7e82c7e-80c6-42a5-ab71-24588885b7fe" providerId="ADAL" clId="{167FC261-9733-43D8-A9C5-B462733A4DDF}" dt="2021-11-05T17:42:11.539" v="2597" actId="478"/>
          <ac:grpSpMkLst>
            <pc:docMk/>
            <pc:sldMk cId="4234920442" sldId="2516"/>
            <ac:grpSpMk id="7" creationId="{07A7EF26-AC67-4614-AF9F-B55C4CE9A93E}"/>
          </ac:grpSpMkLst>
        </pc:grpChg>
        <pc:grpChg chg="add mod">
          <ac:chgData name="Müller, Kurt (SI BP S TSS ACD)" userId="e7e82c7e-80c6-42a5-ab71-24588885b7fe" providerId="ADAL" clId="{167FC261-9733-43D8-A9C5-B462733A4DDF}" dt="2021-11-05T17:42:38.203" v="2602" actId="338"/>
          <ac:grpSpMkLst>
            <pc:docMk/>
            <pc:sldMk cId="4234920442" sldId="2516"/>
            <ac:grpSpMk id="8" creationId="{1DD47961-A412-40F6-8654-2D44BFD5574A}"/>
          </ac:grpSpMkLst>
        </pc:grpChg>
        <pc:grpChg chg="add mod">
          <ac:chgData name="Müller, Kurt (SI BP S TSS ACD)" userId="e7e82c7e-80c6-42a5-ab71-24588885b7fe" providerId="ADAL" clId="{167FC261-9733-43D8-A9C5-B462733A4DDF}" dt="2021-11-05T17:43:31.840" v="2612" actId="1076"/>
          <ac:grpSpMkLst>
            <pc:docMk/>
            <pc:sldMk cId="4234920442" sldId="2516"/>
            <ac:grpSpMk id="9" creationId="{3C29FA3C-33F5-41C6-96D1-6E37A08614D5}"/>
          </ac:grpSpMkLst>
        </pc:grpChg>
        <pc:grpChg chg="add mod">
          <ac:chgData name="Müller, Kurt (SI BP S TSS ACD)" userId="e7e82c7e-80c6-42a5-ab71-24588885b7fe" providerId="ADAL" clId="{167FC261-9733-43D8-A9C5-B462733A4DDF}" dt="2021-11-05T17:47:32.968" v="2680" actId="1076"/>
          <ac:grpSpMkLst>
            <pc:docMk/>
            <pc:sldMk cId="4234920442" sldId="2516"/>
            <ac:grpSpMk id="10" creationId="{40CB39DF-9302-4804-A567-D4A4B64B929A}"/>
          </ac:grpSpMkLst>
        </pc:grpChg>
        <pc:grpChg chg="add mod">
          <ac:chgData name="Müller, Kurt (SI BP S TSS ACD)" userId="e7e82c7e-80c6-42a5-ab71-24588885b7fe" providerId="ADAL" clId="{167FC261-9733-43D8-A9C5-B462733A4DDF}" dt="2021-11-05T17:46:05.049" v="2665" actId="1076"/>
          <ac:grpSpMkLst>
            <pc:docMk/>
            <pc:sldMk cId="4234920442" sldId="2516"/>
            <ac:grpSpMk id="11" creationId="{2C8813BE-EB76-4F4F-BEA9-3CB8E8C1E59D}"/>
          </ac:grpSpMkLst>
        </pc:grpChg>
        <pc:grpChg chg="add del mod">
          <ac:chgData name="Müller, Kurt (SI BP S TSS ACD)" userId="e7e82c7e-80c6-42a5-ab71-24588885b7fe" providerId="ADAL" clId="{167FC261-9733-43D8-A9C5-B462733A4DDF}" dt="2021-11-05T17:41:54.415" v="2593" actId="478"/>
          <ac:grpSpMkLst>
            <pc:docMk/>
            <pc:sldMk cId="4234920442" sldId="2516"/>
            <ac:grpSpMk id="41" creationId="{2F866D74-C9A4-4040-9AEF-5B0BB7F44B75}"/>
          </ac:grpSpMkLst>
        </pc:grpChg>
        <pc:grpChg chg="add del mod">
          <ac:chgData name="Müller, Kurt (SI BP S TSS ACD)" userId="e7e82c7e-80c6-42a5-ab71-24588885b7fe" providerId="ADAL" clId="{167FC261-9733-43D8-A9C5-B462733A4DDF}" dt="2021-11-05T17:42:23.784" v="2599" actId="165"/>
          <ac:grpSpMkLst>
            <pc:docMk/>
            <pc:sldMk cId="4234920442" sldId="2516"/>
            <ac:grpSpMk id="49" creationId="{C13377FC-9F96-4C86-9AD6-4E52A075A9D0}"/>
          </ac:grpSpMkLst>
        </pc:grpChg>
        <pc:grpChg chg="mod topLvl">
          <ac:chgData name="Müller, Kurt (SI BP S TSS ACD)" userId="e7e82c7e-80c6-42a5-ab71-24588885b7fe" providerId="ADAL" clId="{167FC261-9733-43D8-A9C5-B462733A4DDF}" dt="2021-11-05T17:43:03.587" v="2606" actId="571"/>
          <ac:grpSpMkLst>
            <pc:docMk/>
            <pc:sldMk cId="4234920442" sldId="2516"/>
            <ac:grpSpMk id="51" creationId="{46EC04EC-DE70-4EC7-B951-D5A52D852795}"/>
          </ac:grpSpMkLst>
        </pc:grpChg>
        <pc:picChg chg="del mod">
          <ac:chgData name="Müller, Kurt (SI BP S TSS ACD)" userId="e7e82c7e-80c6-42a5-ab71-24588885b7fe" providerId="ADAL" clId="{167FC261-9733-43D8-A9C5-B462733A4DDF}" dt="2021-11-05T15:15:04.961" v="2467" actId="478"/>
          <ac:picMkLst>
            <pc:docMk/>
            <pc:sldMk cId="4234920442" sldId="2516"/>
            <ac:picMk id="33" creationId="{F7A3DEF0-B0DE-4160-8F5A-BC13AAED3C03}"/>
          </ac:picMkLst>
        </pc:picChg>
        <pc:picChg chg="mod">
          <ac:chgData name="Müller, Kurt (SI BP S TSS ACD)" userId="e7e82c7e-80c6-42a5-ab71-24588885b7fe" providerId="ADAL" clId="{167FC261-9733-43D8-A9C5-B462733A4DDF}" dt="2021-11-05T17:45:30.488" v="2656" actId="1076"/>
          <ac:picMkLst>
            <pc:docMk/>
            <pc:sldMk cId="4234920442" sldId="2516"/>
            <ac:picMk id="54" creationId="{02617846-5467-4B63-B536-D3938AC20A88}"/>
          </ac:picMkLst>
        </pc:picChg>
        <pc:picChg chg="add mod">
          <ac:chgData name="Müller, Kurt (SI BP S TSS ACD)" userId="e7e82c7e-80c6-42a5-ab71-24588885b7fe" providerId="ADAL" clId="{167FC261-9733-43D8-A9C5-B462733A4DDF}" dt="2021-11-05T17:46:34.296" v="2670" actId="14100"/>
          <ac:picMkLst>
            <pc:docMk/>
            <pc:sldMk cId="4234920442" sldId="2516"/>
            <ac:picMk id="58" creationId="{65457C06-F54D-425D-927A-83A418E917D5}"/>
          </ac:picMkLst>
        </pc:picChg>
        <pc:picChg chg="del mod">
          <ac:chgData name="Müller, Kurt (SI BP S TSS ACD)" userId="e7e82c7e-80c6-42a5-ab71-24588885b7fe" providerId="ADAL" clId="{167FC261-9733-43D8-A9C5-B462733A4DDF}" dt="2021-11-05T17:41:12.844" v="2579" actId="478"/>
          <ac:picMkLst>
            <pc:docMk/>
            <pc:sldMk cId="4234920442" sldId="2516"/>
            <ac:picMk id="70" creationId="{5B26EF9C-3CCC-42EA-8A47-496C7A2025B7}"/>
          </ac:picMkLst>
        </pc:picChg>
        <pc:picChg chg="del mod">
          <ac:chgData name="Müller, Kurt (SI BP S TSS ACD)" userId="e7e82c7e-80c6-42a5-ab71-24588885b7fe" providerId="ADAL" clId="{167FC261-9733-43D8-A9C5-B462733A4DDF}" dt="2021-11-05T17:41:05.600" v="2576" actId="478"/>
          <ac:picMkLst>
            <pc:docMk/>
            <pc:sldMk cId="4234920442" sldId="2516"/>
            <ac:picMk id="73" creationId="{AF3EBC85-962D-41C8-816B-5E79EE824484}"/>
          </ac:picMkLst>
        </pc:picChg>
        <pc:picChg chg="del mod">
          <ac:chgData name="Müller, Kurt (SI BP S TSS ACD)" userId="e7e82c7e-80c6-42a5-ab71-24588885b7fe" providerId="ADAL" clId="{167FC261-9733-43D8-A9C5-B462733A4DDF}" dt="2021-11-05T17:41:13.779" v="2580" actId="478"/>
          <ac:picMkLst>
            <pc:docMk/>
            <pc:sldMk cId="4234920442" sldId="2516"/>
            <ac:picMk id="74" creationId="{754EF2AC-45B0-4000-B8F6-FFFF08F1A195}"/>
          </ac:picMkLst>
        </pc:picChg>
        <pc:picChg chg="mod">
          <ac:chgData name="Müller, Kurt (SI BP S TSS ACD)" userId="e7e82c7e-80c6-42a5-ab71-24588885b7fe" providerId="ADAL" clId="{167FC261-9733-43D8-A9C5-B462733A4DDF}" dt="2021-11-05T15:14:56.883" v="2465" actId="1076"/>
          <ac:picMkLst>
            <pc:docMk/>
            <pc:sldMk cId="4234920442" sldId="2516"/>
            <ac:picMk id="75" creationId="{4A64A827-0790-4025-8C79-C767303BFFB8}"/>
          </ac:picMkLst>
        </pc:picChg>
        <pc:picChg chg="mod">
          <ac:chgData name="Müller, Kurt (SI BP S TSS ACD)" userId="e7e82c7e-80c6-42a5-ab71-24588885b7fe" providerId="ADAL" clId="{167FC261-9733-43D8-A9C5-B462733A4DDF}" dt="2021-11-05T17:48:27.186" v="2688" actId="1076"/>
          <ac:picMkLst>
            <pc:docMk/>
            <pc:sldMk cId="4234920442" sldId="2516"/>
            <ac:picMk id="1026" creationId="{332EE6AF-26AF-4349-BC3A-0BB741A8DC82}"/>
          </ac:picMkLst>
        </pc:picChg>
        <pc:picChg chg="del">
          <ac:chgData name="Müller, Kurt (SI BP S TSS ACD)" userId="e7e82c7e-80c6-42a5-ab71-24588885b7fe" providerId="ADAL" clId="{167FC261-9733-43D8-A9C5-B462733A4DDF}" dt="2021-11-05T15:14:06.339" v="2454" actId="478"/>
          <ac:picMkLst>
            <pc:docMk/>
            <pc:sldMk cId="4234920442" sldId="2516"/>
            <ac:picMk id="1028" creationId="{4B8104F1-11D8-40C6-80CE-24DB5D3410FE}"/>
          </ac:picMkLst>
        </pc:picChg>
        <pc:cxnChg chg="add mod ord">
          <ac:chgData name="Müller, Kurt (SI BP S TSS ACD)" userId="e7e82c7e-80c6-42a5-ab71-24588885b7fe" providerId="ADAL" clId="{167FC261-9733-43D8-A9C5-B462733A4DDF}" dt="2021-11-05T17:48:13.896" v="2685" actId="14100"/>
          <ac:cxnSpMkLst>
            <pc:docMk/>
            <pc:sldMk cId="4234920442" sldId="2516"/>
            <ac:cxnSpMk id="37" creationId="{931C7C9F-50AA-4900-9C20-9A0F70EC2929}"/>
          </ac:cxnSpMkLst>
        </pc:cxnChg>
        <pc:cxnChg chg="del mod">
          <ac:chgData name="Müller, Kurt (SI BP S TSS ACD)" userId="e7e82c7e-80c6-42a5-ab71-24588885b7fe" providerId="ADAL" clId="{167FC261-9733-43D8-A9C5-B462733A4DDF}" dt="2021-11-05T17:43:48.230" v="2614" actId="478"/>
          <ac:cxnSpMkLst>
            <pc:docMk/>
            <pc:sldMk cId="4234920442" sldId="2516"/>
            <ac:cxnSpMk id="81" creationId="{4C940D8D-95D6-476E-9926-EFBC8E551E63}"/>
          </ac:cxnSpMkLst>
        </pc:cxnChg>
        <pc:cxnChg chg="mod">
          <ac:chgData name="Müller, Kurt (SI BP S TSS ACD)" userId="e7e82c7e-80c6-42a5-ab71-24588885b7fe" providerId="ADAL" clId="{167FC261-9733-43D8-A9C5-B462733A4DDF}" dt="2021-11-05T17:45:31.549" v="2657" actId="1076"/>
          <ac:cxnSpMkLst>
            <pc:docMk/>
            <pc:sldMk cId="4234920442" sldId="2516"/>
            <ac:cxnSpMk id="83" creationId="{D1A3B89B-ED54-455E-A1C5-43CBF06B730D}"/>
          </ac:cxnSpMkLst>
        </pc:cxnChg>
        <pc:cxnChg chg="mod">
          <ac:chgData name="Müller, Kurt (SI BP S TSS ACD)" userId="e7e82c7e-80c6-42a5-ab71-24588885b7fe" providerId="ADAL" clId="{167FC261-9733-43D8-A9C5-B462733A4DDF}" dt="2021-11-05T17:47:32.968" v="2680" actId="1076"/>
          <ac:cxnSpMkLst>
            <pc:docMk/>
            <pc:sldMk cId="4234920442" sldId="2516"/>
            <ac:cxnSpMk id="85" creationId="{C1E9EA43-BBB2-40DC-8066-0115F08F809A}"/>
          </ac:cxnSpMkLst>
        </pc:cxnChg>
        <pc:cxnChg chg="mod">
          <ac:chgData name="Müller, Kurt (SI BP S TSS ACD)" userId="e7e82c7e-80c6-42a5-ab71-24588885b7fe" providerId="ADAL" clId="{167FC261-9733-43D8-A9C5-B462733A4DDF}" dt="2021-11-05T17:47:32.968" v="2680" actId="1076"/>
          <ac:cxnSpMkLst>
            <pc:docMk/>
            <pc:sldMk cId="4234920442" sldId="2516"/>
            <ac:cxnSpMk id="89" creationId="{8A046D43-F052-4625-9770-432260953FB9}"/>
          </ac:cxnSpMkLst>
        </pc:cxnChg>
      </pc:sldChg>
      <pc:sldChg chg="modSp add del">
        <pc:chgData name="Müller, Kurt (SI BP S TSS ACD)" userId="e7e82c7e-80c6-42a5-ab71-24588885b7fe" providerId="ADAL" clId="{167FC261-9733-43D8-A9C5-B462733A4DDF}" dt="2021-11-05T17:48:49.906" v="2695" actId="47"/>
        <pc:sldMkLst>
          <pc:docMk/>
          <pc:sldMk cId="21377636" sldId="2517"/>
        </pc:sldMkLst>
        <pc:picChg chg="mod">
          <ac:chgData name="Müller, Kurt (SI BP S TSS ACD)" userId="e7e82c7e-80c6-42a5-ab71-24588885b7fe" providerId="ADAL" clId="{167FC261-9733-43D8-A9C5-B462733A4DDF}" dt="2021-11-05T17:46:23.824" v="2667" actId="1076"/>
          <ac:picMkLst>
            <pc:docMk/>
            <pc:sldMk cId="21377636" sldId="2517"/>
            <ac:picMk id="1026" creationId="{332EE6AF-26AF-4349-BC3A-0BB741A8DC82}"/>
          </ac:picMkLst>
        </pc:picChg>
      </pc:sldChg>
    </pc:docChg>
  </pc:docChgLst>
  <pc:docChgLst>
    <pc:chgData name="Gao, Tianyun (SI BP AUT EA PROD)" userId="25b3c3cc-5a46-4d03-a516-a1293833cff3" providerId="ADAL" clId="{4B4FD342-2CAF-4770-8425-EAD069DD527D}"/>
    <pc:docChg chg="undo custSel addSld delSld modSld sldOrd">
      <pc:chgData name="Gao, Tianyun (SI BP AUT EA PROD)" userId="25b3c3cc-5a46-4d03-a516-a1293833cff3" providerId="ADAL" clId="{4B4FD342-2CAF-4770-8425-EAD069DD527D}" dt="2021-11-11T10:24:42.067" v="2641" actId="20577"/>
      <pc:docMkLst>
        <pc:docMk/>
      </pc:docMkLst>
      <pc:sldChg chg="ord">
        <pc:chgData name="Gao, Tianyun (SI BP AUT EA PROD)" userId="25b3c3cc-5a46-4d03-a516-a1293833cff3" providerId="ADAL" clId="{4B4FD342-2CAF-4770-8425-EAD069DD527D}" dt="2021-10-03T20:11:05.061" v="1542"/>
        <pc:sldMkLst>
          <pc:docMk/>
          <pc:sldMk cId="2584136636" sldId="494"/>
        </pc:sldMkLst>
      </pc:sldChg>
      <pc:sldChg chg="ord">
        <pc:chgData name="Gao, Tianyun (SI BP AUT EA PROD)" userId="25b3c3cc-5a46-4d03-a516-a1293833cff3" providerId="ADAL" clId="{4B4FD342-2CAF-4770-8425-EAD069DD527D}" dt="2021-10-03T20:11:03.013" v="1540"/>
        <pc:sldMkLst>
          <pc:docMk/>
          <pc:sldMk cId="1976342356" sldId="499"/>
        </pc:sldMkLst>
      </pc:sldChg>
      <pc:sldChg chg="mod modShow">
        <pc:chgData name="Gao, Tianyun (SI BP AUT EA PROD)" userId="25b3c3cc-5a46-4d03-a516-a1293833cff3" providerId="ADAL" clId="{4B4FD342-2CAF-4770-8425-EAD069DD527D}" dt="2021-10-03T20:12:27.486" v="1545" actId="729"/>
        <pc:sldMkLst>
          <pc:docMk/>
          <pc:sldMk cId="0" sldId="510"/>
        </pc:sldMkLst>
      </pc:sldChg>
      <pc:sldChg chg="mod modShow">
        <pc:chgData name="Gao, Tianyun (SI BP AUT EA PROD)" userId="25b3c3cc-5a46-4d03-a516-a1293833cff3" providerId="ADAL" clId="{4B4FD342-2CAF-4770-8425-EAD069DD527D}" dt="2021-10-03T20:12:27.486" v="1545" actId="729"/>
        <pc:sldMkLst>
          <pc:docMk/>
          <pc:sldMk cId="0" sldId="514"/>
        </pc:sldMkLst>
      </pc:sldChg>
      <pc:sldChg chg="mod modShow">
        <pc:chgData name="Gao, Tianyun (SI BP AUT EA PROD)" userId="25b3c3cc-5a46-4d03-a516-a1293833cff3" providerId="ADAL" clId="{4B4FD342-2CAF-4770-8425-EAD069DD527D}" dt="2021-10-03T20:12:27.486" v="1545" actId="729"/>
        <pc:sldMkLst>
          <pc:docMk/>
          <pc:sldMk cId="0" sldId="515"/>
        </pc:sldMkLst>
      </pc:sldChg>
      <pc:sldChg chg="mod modShow">
        <pc:chgData name="Gao, Tianyun (SI BP AUT EA PROD)" userId="25b3c3cc-5a46-4d03-a516-a1293833cff3" providerId="ADAL" clId="{4B4FD342-2CAF-4770-8425-EAD069DD527D}" dt="2021-10-03T20:12:27.486" v="1545" actId="729"/>
        <pc:sldMkLst>
          <pc:docMk/>
          <pc:sldMk cId="0" sldId="516"/>
        </pc:sldMkLst>
      </pc:sldChg>
      <pc:sldChg chg="del">
        <pc:chgData name="Gao, Tianyun (SI BP AUT EA PROD)" userId="25b3c3cc-5a46-4d03-a516-a1293833cff3" providerId="ADAL" clId="{4B4FD342-2CAF-4770-8425-EAD069DD527D}" dt="2021-10-03T20:09:22.184" v="1535" actId="2696"/>
        <pc:sldMkLst>
          <pc:docMk/>
          <pc:sldMk cId="2825329053" sldId="2453"/>
        </pc:sldMkLst>
      </pc:sldChg>
      <pc:sldChg chg="add">
        <pc:chgData name="Gao, Tianyun (SI BP AUT EA PROD)" userId="25b3c3cc-5a46-4d03-a516-a1293833cff3" providerId="ADAL" clId="{4B4FD342-2CAF-4770-8425-EAD069DD527D}" dt="2021-10-03T20:09:29.430" v="1536"/>
        <pc:sldMkLst>
          <pc:docMk/>
          <pc:sldMk cId="3281152742" sldId="2453"/>
        </pc:sldMkLst>
      </pc:sldChg>
      <pc:sldChg chg="delSp modSp mod">
        <pc:chgData name="Gao, Tianyun (SI BP AUT EA PROD)" userId="25b3c3cc-5a46-4d03-a516-a1293833cff3" providerId="ADAL" clId="{4B4FD342-2CAF-4770-8425-EAD069DD527D}" dt="2021-10-03T20:15:55.868" v="1562" actId="478"/>
        <pc:sldMkLst>
          <pc:docMk/>
          <pc:sldMk cId="578141691" sldId="2459"/>
        </pc:sldMkLst>
        <pc:spChg chg="del">
          <ac:chgData name="Gao, Tianyun (SI BP AUT EA PROD)" userId="25b3c3cc-5a46-4d03-a516-a1293833cff3" providerId="ADAL" clId="{4B4FD342-2CAF-4770-8425-EAD069DD527D}" dt="2021-10-03T20:15:55.868" v="1562" actId="478"/>
          <ac:spMkLst>
            <pc:docMk/>
            <pc:sldMk cId="578141691" sldId="2459"/>
            <ac:spMk id="12" creationId="{E7ECA441-DCF2-499E-A8C4-81842FA8C813}"/>
          </ac:spMkLst>
        </pc:spChg>
        <pc:spChg chg="mod">
          <ac:chgData name="Gao, Tianyun (SI BP AUT EA PROD)" userId="25b3c3cc-5a46-4d03-a516-a1293833cff3" providerId="ADAL" clId="{4B4FD342-2CAF-4770-8425-EAD069DD527D}" dt="2021-10-01T14:27:25.036" v="85" actId="20577"/>
          <ac:spMkLst>
            <pc:docMk/>
            <pc:sldMk cId="578141691" sldId="2459"/>
            <ac:spMk id="20" creationId="{2A27FA31-F982-4A71-8CAF-D323DC85DE85}"/>
          </ac:spMkLst>
        </pc:spChg>
      </pc:sldChg>
      <pc:sldChg chg="ord">
        <pc:chgData name="Gao, Tianyun (SI BP AUT EA PROD)" userId="25b3c3cc-5a46-4d03-a516-a1293833cff3" providerId="ADAL" clId="{4B4FD342-2CAF-4770-8425-EAD069DD527D}" dt="2021-10-03T20:10:28.531" v="1538"/>
        <pc:sldMkLst>
          <pc:docMk/>
          <pc:sldMk cId="0" sldId="2464"/>
        </pc:sldMkLst>
      </pc:sldChg>
      <pc:sldChg chg="modSp mod ord">
        <pc:chgData name="Gao, Tianyun (SI BP AUT EA PROD)" userId="25b3c3cc-5a46-4d03-a516-a1293833cff3" providerId="ADAL" clId="{4B4FD342-2CAF-4770-8425-EAD069DD527D}" dt="2021-11-11T10:24:42.067" v="2641" actId="20577"/>
        <pc:sldMkLst>
          <pc:docMk/>
          <pc:sldMk cId="0" sldId="2467"/>
        </pc:sldMkLst>
        <pc:spChg chg="mod">
          <ac:chgData name="Gao, Tianyun (SI BP AUT EA PROD)" userId="25b3c3cc-5a46-4d03-a516-a1293833cff3" providerId="ADAL" clId="{4B4FD342-2CAF-4770-8425-EAD069DD527D}" dt="2021-10-03T20:12:48.392" v="1561" actId="20577"/>
          <ac:spMkLst>
            <pc:docMk/>
            <pc:sldMk cId="0" sldId="2467"/>
            <ac:spMk id="9" creationId="{63E4AF9C-9BE2-481C-9F4E-96EAB9FC6B9D}"/>
          </ac:spMkLst>
        </pc:spChg>
        <pc:graphicFrameChg chg="modGraphic">
          <ac:chgData name="Gao, Tianyun (SI BP AUT EA PROD)" userId="25b3c3cc-5a46-4d03-a516-a1293833cff3" providerId="ADAL" clId="{4B4FD342-2CAF-4770-8425-EAD069DD527D}" dt="2021-11-11T10:24:42.067" v="2641" actId="20577"/>
          <ac:graphicFrameMkLst>
            <pc:docMk/>
            <pc:sldMk cId="0" sldId="2467"/>
            <ac:graphicFrameMk id="24" creationId="{61DC41C9-DAC1-4127-91B3-975A82AE15C0}"/>
          </ac:graphicFrameMkLst>
        </pc:graphicFrameChg>
      </pc:sldChg>
      <pc:sldChg chg="addSp delSp modSp mod ord">
        <pc:chgData name="Gao, Tianyun (SI BP AUT EA PROD)" userId="25b3c3cc-5a46-4d03-a516-a1293833cff3" providerId="ADAL" clId="{4B4FD342-2CAF-4770-8425-EAD069DD527D}" dt="2021-10-03T19:20:19.745" v="1139" actId="1076"/>
        <pc:sldMkLst>
          <pc:docMk/>
          <pc:sldMk cId="2414038128" sldId="2475"/>
        </pc:sldMkLst>
        <pc:spChg chg="mod">
          <ac:chgData name="Gao, Tianyun (SI BP AUT EA PROD)" userId="25b3c3cc-5a46-4d03-a516-a1293833cff3" providerId="ADAL" clId="{4B4FD342-2CAF-4770-8425-EAD069DD527D}" dt="2021-10-01T20:45:57.046" v="134" actId="20577"/>
          <ac:spMkLst>
            <pc:docMk/>
            <pc:sldMk cId="2414038128" sldId="2475"/>
            <ac:spMk id="43" creationId="{C6E54D6C-C479-46C9-BD1C-06EFA0E2F6CB}"/>
          </ac:spMkLst>
        </pc:spChg>
        <pc:picChg chg="add mod">
          <ac:chgData name="Gao, Tianyun (SI BP AUT EA PROD)" userId="25b3c3cc-5a46-4d03-a516-a1293833cff3" providerId="ADAL" clId="{4B4FD342-2CAF-4770-8425-EAD069DD527D}" dt="2021-10-03T19:20:19.745" v="1139" actId="1076"/>
          <ac:picMkLst>
            <pc:docMk/>
            <pc:sldMk cId="2414038128" sldId="2475"/>
            <ac:picMk id="6" creationId="{92937E9E-BB14-4FC5-8409-11A5D163CA6A}"/>
          </ac:picMkLst>
        </pc:picChg>
        <pc:picChg chg="del">
          <ac:chgData name="Gao, Tianyun (SI BP AUT EA PROD)" userId="25b3c3cc-5a46-4d03-a516-a1293833cff3" providerId="ADAL" clId="{4B4FD342-2CAF-4770-8425-EAD069DD527D}" dt="2021-10-03T19:20:16.620" v="1137" actId="478"/>
          <ac:picMkLst>
            <pc:docMk/>
            <pc:sldMk cId="2414038128" sldId="2475"/>
            <ac:picMk id="48" creationId="{0B7A2CBE-3992-4078-A5CD-9BACF260F4C6}"/>
          </ac:picMkLst>
        </pc:picChg>
      </pc:sldChg>
      <pc:sldChg chg="mod modShow">
        <pc:chgData name="Gao, Tianyun (SI BP AUT EA PROD)" userId="25b3c3cc-5a46-4d03-a516-a1293833cff3" providerId="ADAL" clId="{4B4FD342-2CAF-4770-8425-EAD069DD527D}" dt="2021-10-03T20:12:27.486" v="1545" actId="729"/>
        <pc:sldMkLst>
          <pc:docMk/>
          <pc:sldMk cId="1990938232" sldId="2476"/>
        </pc:sldMkLst>
      </pc:sldChg>
      <pc:sldChg chg="mod modShow">
        <pc:chgData name="Gao, Tianyun (SI BP AUT EA PROD)" userId="25b3c3cc-5a46-4d03-a516-a1293833cff3" providerId="ADAL" clId="{4B4FD342-2CAF-4770-8425-EAD069DD527D}" dt="2021-10-03T20:12:27.486" v="1545" actId="729"/>
        <pc:sldMkLst>
          <pc:docMk/>
          <pc:sldMk cId="3784731429" sldId="2477"/>
        </pc:sldMkLst>
      </pc:sldChg>
      <pc:sldChg chg="mod modShow">
        <pc:chgData name="Gao, Tianyun (SI BP AUT EA PROD)" userId="25b3c3cc-5a46-4d03-a516-a1293833cff3" providerId="ADAL" clId="{4B4FD342-2CAF-4770-8425-EAD069DD527D}" dt="2021-10-03T20:12:27.486" v="1545" actId="729"/>
        <pc:sldMkLst>
          <pc:docMk/>
          <pc:sldMk cId="3624876775" sldId="2478"/>
        </pc:sldMkLst>
      </pc:sldChg>
      <pc:sldChg chg="mod modShow">
        <pc:chgData name="Gao, Tianyun (SI BP AUT EA PROD)" userId="25b3c3cc-5a46-4d03-a516-a1293833cff3" providerId="ADAL" clId="{4B4FD342-2CAF-4770-8425-EAD069DD527D}" dt="2021-10-03T20:12:27.486" v="1545" actId="729"/>
        <pc:sldMkLst>
          <pc:docMk/>
          <pc:sldMk cId="3213307314" sldId="2479"/>
        </pc:sldMkLst>
      </pc:sldChg>
      <pc:sldChg chg="mod modShow">
        <pc:chgData name="Gao, Tianyun (SI BP AUT EA PROD)" userId="25b3c3cc-5a46-4d03-a516-a1293833cff3" providerId="ADAL" clId="{4B4FD342-2CAF-4770-8425-EAD069DD527D}" dt="2021-10-03T20:12:27.486" v="1545" actId="729"/>
        <pc:sldMkLst>
          <pc:docMk/>
          <pc:sldMk cId="1985277454" sldId="2480"/>
        </pc:sldMkLst>
      </pc:sldChg>
      <pc:sldChg chg="mod modShow">
        <pc:chgData name="Gao, Tianyun (SI BP AUT EA PROD)" userId="25b3c3cc-5a46-4d03-a516-a1293833cff3" providerId="ADAL" clId="{4B4FD342-2CAF-4770-8425-EAD069DD527D}" dt="2021-10-03T20:12:27.486" v="1545" actId="729"/>
        <pc:sldMkLst>
          <pc:docMk/>
          <pc:sldMk cId="3669013639" sldId="2487"/>
        </pc:sldMkLst>
      </pc:sldChg>
      <pc:sldChg chg="mod modShow">
        <pc:chgData name="Gao, Tianyun (SI BP AUT EA PROD)" userId="25b3c3cc-5a46-4d03-a516-a1293833cff3" providerId="ADAL" clId="{4B4FD342-2CAF-4770-8425-EAD069DD527D}" dt="2021-10-03T20:12:27.486" v="1545" actId="729"/>
        <pc:sldMkLst>
          <pc:docMk/>
          <pc:sldMk cId="353228543" sldId="2488"/>
        </pc:sldMkLst>
      </pc:sldChg>
      <pc:sldChg chg="addSp delSp modSp mod">
        <pc:chgData name="Gao, Tianyun (SI BP AUT EA PROD)" userId="25b3c3cc-5a46-4d03-a516-a1293833cff3" providerId="ADAL" clId="{4B4FD342-2CAF-4770-8425-EAD069DD527D}" dt="2021-10-02T20:42:40.884" v="675" actId="20577"/>
        <pc:sldMkLst>
          <pc:docMk/>
          <pc:sldMk cId="65606037" sldId="2494"/>
        </pc:sldMkLst>
        <pc:spChg chg="del">
          <ac:chgData name="Gao, Tianyun (SI BP AUT EA PROD)" userId="25b3c3cc-5a46-4d03-a516-a1293833cff3" providerId="ADAL" clId="{4B4FD342-2CAF-4770-8425-EAD069DD527D}" dt="2021-10-02T20:15:17.390" v="141" actId="478"/>
          <ac:spMkLst>
            <pc:docMk/>
            <pc:sldMk cId="65606037" sldId="2494"/>
            <ac:spMk id="3" creationId="{2B0B5429-3AC0-4719-BEC1-66DA3F8D06F8}"/>
          </ac:spMkLst>
        </pc:spChg>
        <pc:spChg chg="del">
          <ac:chgData name="Gao, Tianyun (SI BP AUT EA PROD)" userId="25b3c3cc-5a46-4d03-a516-a1293833cff3" providerId="ADAL" clId="{4B4FD342-2CAF-4770-8425-EAD069DD527D}" dt="2021-10-02T20:15:17.390" v="141" actId="478"/>
          <ac:spMkLst>
            <pc:docMk/>
            <pc:sldMk cId="65606037" sldId="2494"/>
            <ac:spMk id="12" creationId="{A4B2CF82-3A65-433D-BD22-7D52AEC002BE}"/>
          </ac:spMkLst>
        </pc:spChg>
        <pc:spChg chg="del">
          <ac:chgData name="Gao, Tianyun (SI BP AUT EA PROD)" userId="25b3c3cc-5a46-4d03-a516-a1293833cff3" providerId="ADAL" clId="{4B4FD342-2CAF-4770-8425-EAD069DD527D}" dt="2021-10-02T20:15:13.553" v="140" actId="478"/>
          <ac:spMkLst>
            <pc:docMk/>
            <pc:sldMk cId="65606037" sldId="2494"/>
            <ac:spMk id="13" creationId="{3972A43F-EB41-488D-8627-93CE8199840D}"/>
          </ac:spMkLst>
        </pc:spChg>
        <pc:spChg chg="del mod">
          <ac:chgData name="Gao, Tianyun (SI BP AUT EA PROD)" userId="25b3c3cc-5a46-4d03-a516-a1293833cff3" providerId="ADAL" clId="{4B4FD342-2CAF-4770-8425-EAD069DD527D}" dt="2021-10-02T20:37:18.962" v="360" actId="478"/>
          <ac:spMkLst>
            <pc:docMk/>
            <pc:sldMk cId="65606037" sldId="2494"/>
            <ac:spMk id="15" creationId="{69195940-A5D1-4EC3-AB54-867BF0B85AE2}"/>
          </ac:spMkLst>
        </pc:spChg>
        <pc:spChg chg="add mod">
          <ac:chgData name="Gao, Tianyun (SI BP AUT EA PROD)" userId="25b3c3cc-5a46-4d03-a516-a1293833cff3" providerId="ADAL" clId="{4B4FD342-2CAF-4770-8425-EAD069DD527D}" dt="2021-10-02T20:42:40.884" v="675" actId="20577"/>
          <ac:spMkLst>
            <pc:docMk/>
            <pc:sldMk cId="65606037" sldId="2494"/>
            <ac:spMk id="16" creationId="{E55DB4A8-8483-43B1-BEC7-B0701E6D6039}"/>
          </ac:spMkLst>
        </pc:spChg>
        <pc:spChg chg="del">
          <ac:chgData name="Gao, Tianyun (SI BP AUT EA PROD)" userId="25b3c3cc-5a46-4d03-a516-a1293833cff3" providerId="ADAL" clId="{4B4FD342-2CAF-4770-8425-EAD069DD527D}" dt="2021-10-02T20:15:19.279" v="142" actId="478"/>
          <ac:spMkLst>
            <pc:docMk/>
            <pc:sldMk cId="65606037" sldId="2494"/>
            <ac:spMk id="17" creationId="{0DBA7403-27C6-4A0C-AEDC-0585BE97B632}"/>
          </ac:spMkLst>
        </pc:spChg>
        <pc:spChg chg="del">
          <ac:chgData name="Gao, Tianyun (SI BP AUT EA PROD)" userId="25b3c3cc-5a46-4d03-a516-a1293833cff3" providerId="ADAL" clId="{4B4FD342-2CAF-4770-8425-EAD069DD527D}" dt="2021-10-02T20:15:17.390" v="141" actId="478"/>
          <ac:spMkLst>
            <pc:docMk/>
            <pc:sldMk cId="65606037" sldId="2494"/>
            <ac:spMk id="18" creationId="{40997B31-84D6-40DD-8F5F-D95DA047F15A}"/>
          </ac:spMkLst>
        </pc:spChg>
        <pc:picChg chg="add del mod ord">
          <ac:chgData name="Gao, Tianyun (SI BP AUT EA PROD)" userId="25b3c3cc-5a46-4d03-a516-a1293833cff3" providerId="ADAL" clId="{4B4FD342-2CAF-4770-8425-EAD069DD527D}" dt="2021-10-02T20:25:42.557" v="311" actId="478"/>
          <ac:picMkLst>
            <pc:docMk/>
            <pc:sldMk cId="65606037" sldId="2494"/>
            <ac:picMk id="4" creationId="{D9FE7D5C-38AD-4976-B1C5-36F14E3C453B}"/>
          </ac:picMkLst>
        </pc:picChg>
        <pc:picChg chg="add mod">
          <ac:chgData name="Gao, Tianyun (SI BP AUT EA PROD)" userId="25b3c3cc-5a46-4d03-a516-a1293833cff3" providerId="ADAL" clId="{4B4FD342-2CAF-4770-8425-EAD069DD527D}" dt="2021-10-02T20:25:49.593" v="315" actId="1076"/>
          <ac:picMkLst>
            <pc:docMk/>
            <pc:sldMk cId="65606037" sldId="2494"/>
            <ac:picMk id="6" creationId="{30CFD65F-84BE-4326-8DB8-75FA36A7A16F}"/>
          </ac:picMkLst>
        </pc:picChg>
        <pc:picChg chg="del mod">
          <ac:chgData name="Gao, Tianyun (SI BP AUT EA PROD)" userId="25b3c3cc-5a46-4d03-a516-a1293833cff3" providerId="ADAL" clId="{4B4FD342-2CAF-4770-8425-EAD069DD527D}" dt="2021-10-02T20:21:11.148" v="298" actId="478"/>
          <ac:picMkLst>
            <pc:docMk/>
            <pc:sldMk cId="65606037" sldId="2494"/>
            <ac:picMk id="14" creationId="{37B162FF-9631-454F-B189-B1E30AC3E992}"/>
          </ac:picMkLst>
        </pc:picChg>
      </pc:sldChg>
      <pc:sldChg chg="addSp delSp modSp del mod">
        <pc:chgData name="Gao, Tianyun (SI BP AUT EA PROD)" userId="25b3c3cc-5a46-4d03-a516-a1293833cff3" providerId="ADAL" clId="{4B4FD342-2CAF-4770-8425-EAD069DD527D}" dt="2021-10-03T19:04:20.997" v="1122" actId="47"/>
        <pc:sldMkLst>
          <pc:docMk/>
          <pc:sldMk cId="3617080921" sldId="2495"/>
        </pc:sldMkLst>
        <pc:spChg chg="mod">
          <ac:chgData name="Gao, Tianyun (SI BP AUT EA PROD)" userId="25b3c3cc-5a46-4d03-a516-a1293833cff3" providerId="ADAL" clId="{4B4FD342-2CAF-4770-8425-EAD069DD527D}" dt="2021-10-02T20:42:22.472" v="653" actId="1076"/>
          <ac:spMkLst>
            <pc:docMk/>
            <pc:sldMk cId="3617080921" sldId="2495"/>
            <ac:spMk id="14" creationId="{B3E8F97C-ABB2-4A19-95F8-3B695F064573}"/>
          </ac:spMkLst>
        </pc:spChg>
        <pc:spChg chg="mod">
          <ac:chgData name="Gao, Tianyun (SI BP AUT EA PROD)" userId="25b3c3cc-5a46-4d03-a516-a1293833cff3" providerId="ADAL" clId="{4B4FD342-2CAF-4770-8425-EAD069DD527D}" dt="2021-10-03T19:00:11.239" v="1061" actId="1076"/>
          <ac:spMkLst>
            <pc:docMk/>
            <pc:sldMk cId="3617080921" sldId="2495"/>
            <ac:spMk id="16" creationId="{28A57370-8F4B-48B5-836F-5074CC21C5E0}"/>
          </ac:spMkLst>
        </pc:spChg>
        <pc:spChg chg="del">
          <ac:chgData name="Gao, Tianyun (SI BP AUT EA PROD)" userId="25b3c3cc-5a46-4d03-a516-a1293833cff3" providerId="ADAL" clId="{4B4FD342-2CAF-4770-8425-EAD069DD527D}" dt="2021-10-03T19:00:06.517" v="1060" actId="478"/>
          <ac:spMkLst>
            <pc:docMk/>
            <pc:sldMk cId="3617080921" sldId="2495"/>
            <ac:spMk id="19" creationId="{76D3B8E7-F217-4033-9244-A53A49FDAFDF}"/>
          </ac:spMkLst>
        </pc:spChg>
        <pc:spChg chg="del">
          <ac:chgData name="Gao, Tianyun (SI BP AUT EA PROD)" userId="25b3c3cc-5a46-4d03-a516-a1293833cff3" providerId="ADAL" clId="{4B4FD342-2CAF-4770-8425-EAD069DD527D}" dt="2021-10-03T19:00:06.517" v="1060" actId="478"/>
          <ac:spMkLst>
            <pc:docMk/>
            <pc:sldMk cId="3617080921" sldId="2495"/>
            <ac:spMk id="20" creationId="{B93C5DE2-42CB-4D6F-9627-161EEB71AADA}"/>
          </ac:spMkLst>
        </pc:spChg>
        <pc:spChg chg="mod">
          <ac:chgData name="Gao, Tianyun (SI BP AUT EA PROD)" userId="25b3c3cc-5a46-4d03-a516-a1293833cff3" providerId="ADAL" clId="{4B4FD342-2CAF-4770-8425-EAD069DD527D}" dt="2021-10-03T19:00:20.010" v="1065" actId="14100"/>
          <ac:spMkLst>
            <pc:docMk/>
            <pc:sldMk cId="3617080921" sldId="2495"/>
            <ac:spMk id="25" creationId="{5DF5100C-F290-4C0F-A9B9-7C9FDC6060DF}"/>
          </ac:spMkLst>
        </pc:spChg>
        <pc:spChg chg="mod">
          <ac:chgData name="Gao, Tianyun (SI BP AUT EA PROD)" userId="25b3c3cc-5a46-4d03-a516-a1293833cff3" providerId="ADAL" clId="{4B4FD342-2CAF-4770-8425-EAD069DD527D}" dt="2021-10-02T20:41:47.642" v="625" actId="20577"/>
          <ac:spMkLst>
            <pc:docMk/>
            <pc:sldMk cId="3617080921" sldId="2495"/>
            <ac:spMk id="27" creationId="{A103A0C4-915D-4AA5-A448-C78A9AB0DEC9}"/>
          </ac:spMkLst>
        </pc:spChg>
        <pc:spChg chg="mod">
          <ac:chgData name="Gao, Tianyun (SI BP AUT EA PROD)" userId="25b3c3cc-5a46-4d03-a516-a1293833cff3" providerId="ADAL" clId="{4B4FD342-2CAF-4770-8425-EAD069DD527D}" dt="2021-10-02T20:41:56.705" v="632" actId="20577"/>
          <ac:spMkLst>
            <pc:docMk/>
            <pc:sldMk cId="3617080921" sldId="2495"/>
            <ac:spMk id="29" creationId="{CA5ABBD5-FD62-48E4-947A-F7700038C9CD}"/>
          </ac:spMkLst>
        </pc:spChg>
        <pc:spChg chg="mod">
          <ac:chgData name="Gao, Tianyun (SI BP AUT EA PROD)" userId="25b3c3cc-5a46-4d03-a516-a1293833cff3" providerId="ADAL" clId="{4B4FD342-2CAF-4770-8425-EAD069DD527D}" dt="2021-10-03T19:00:11.239" v="1061" actId="1076"/>
          <ac:spMkLst>
            <pc:docMk/>
            <pc:sldMk cId="3617080921" sldId="2495"/>
            <ac:spMk id="31" creationId="{69426052-8C34-4070-A649-B01801B08EFA}"/>
          </ac:spMkLst>
        </pc:spChg>
        <pc:spChg chg="mod">
          <ac:chgData name="Gao, Tianyun (SI BP AUT EA PROD)" userId="25b3c3cc-5a46-4d03-a516-a1293833cff3" providerId="ADAL" clId="{4B4FD342-2CAF-4770-8425-EAD069DD527D}" dt="2021-10-03T19:00:29.166" v="1069" actId="14100"/>
          <ac:spMkLst>
            <pc:docMk/>
            <pc:sldMk cId="3617080921" sldId="2495"/>
            <ac:spMk id="32" creationId="{53A682F4-D21B-49D7-9EBA-3A760FB03C33}"/>
          </ac:spMkLst>
        </pc:spChg>
        <pc:spChg chg="mod">
          <ac:chgData name="Gao, Tianyun (SI BP AUT EA PROD)" userId="25b3c3cc-5a46-4d03-a516-a1293833cff3" providerId="ADAL" clId="{4B4FD342-2CAF-4770-8425-EAD069DD527D}" dt="2021-10-03T19:00:11.239" v="1061" actId="1076"/>
          <ac:spMkLst>
            <pc:docMk/>
            <pc:sldMk cId="3617080921" sldId="2495"/>
            <ac:spMk id="33" creationId="{875127C9-FCBA-48AB-9655-AA88E2B10637}"/>
          </ac:spMkLst>
        </pc:spChg>
        <pc:spChg chg="del">
          <ac:chgData name="Gao, Tianyun (SI BP AUT EA PROD)" userId="25b3c3cc-5a46-4d03-a516-a1293833cff3" providerId="ADAL" clId="{4B4FD342-2CAF-4770-8425-EAD069DD527D}" dt="2021-10-03T19:00:06.517" v="1060" actId="478"/>
          <ac:spMkLst>
            <pc:docMk/>
            <pc:sldMk cId="3617080921" sldId="2495"/>
            <ac:spMk id="34" creationId="{C980011D-61EE-4F9D-966C-9E79F63971A0}"/>
          </ac:spMkLst>
        </pc:spChg>
        <pc:spChg chg="del">
          <ac:chgData name="Gao, Tianyun (SI BP AUT EA PROD)" userId="25b3c3cc-5a46-4d03-a516-a1293833cff3" providerId="ADAL" clId="{4B4FD342-2CAF-4770-8425-EAD069DD527D}" dt="2021-10-03T19:00:06.517" v="1060" actId="478"/>
          <ac:spMkLst>
            <pc:docMk/>
            <pc:sldMk cId="3617080921" sldId="2495"/>
            <ac:spMk id="35" creationId="{AAFE5C34-B8AA-4E66-B456-300D645725DF}"/>
          </ac:spMkLst>
        </pc:spChg>
        <pc:spChg chg="del">
          <ac:chgData name="Gao, Tianyun (SI BP AUT EA PROD)" userId="25b3c3cc-5a46-4d03-a516-a1293833cff3" providerId="ADAL" clId="{4B4FD342-2CAF-4770-8425-EAD069DD527D}" dt="2021-10-03T19:00:06.517" v="1060" actId="478"/>
          <ac:spMkLst>
            <pc:docMk/>
            <pc:sldMk cId="3617080921" sldId="2495"/>
            <ac:spMk id="36" creationId="{C972618A-32D5-4F0E-AF90-E3321311DC63}"/>
          </ac:spMkLst>
        </pc:spChg>
        <pc:spChg chg="del mod">
          <ac:chgData name="Gao, Tianyun (SI BP AUT EA PROD)" userId="25b3c3cc-5a46-4d03-a516-a1293833cff3" providerId="ADAL" clId="{4B4FD342-2CAF-4770-8425-EAD069DD527D}" dt="2021-10-03T19:00:06.517" v="1060" actId="478"/>
          <ac:spMkLst>
            <pc:docMk/>
            <pc:sldMk cId="3617080921" sldId="2495"/>
            <ac:spMk id="37" creationId="{92FDA62D-6306-4AEC-8D33-7ACBB9D53739}"/>
          </ac:spMkLst>
        </pc:spChg>
        <pc:spChg chg="del">
          <ac:chgData name="Gao, Tianyun (SI BP AUT EA PROD)" userId="25b3c3cc-5a46-4d03-a516-a1293833cff3" providerId="ADAL" clId="{4B4FD342-2CAF-4770-8425-EAD069DD527D}" dt="2021-10-03T19:00:06.517" v="1060" actId="478"/>
          <ac:spMkLst>
            <pc:docMk/>
            <pc:sldMk cId="3617080921" sldId="2495"/>
            <ac:spMk id="38" creationId="{D1CFCD05-E3E6-47ED-BA4C-FCE8ADD2CCF7}"/>
          </ac:spMkLst>
        </pc:spChg>
        <pc:spChg chg="del">
          <ac:chgData name="Gao, Tianyun (SI BP AUT EA PROD)" userId="25b3c3cc-5a46-4d03-a516-a1293833cff3" providerId="ADAL" clId="{4B4FD342-2CAF-4770-8425-EAD069DD527D}" dt="2021-10-03T19:00:06.517" v="1060" actId="478"/>
          <ac:spMkLst>
            <pc:docMk/>
            <pc:sldMk cId="3617080921" sldId="2495"/>
            <ac:spMk id="39" creationId="{53E677A6-0172-4202-9F2E-38CAE5B50818}"/>
          </ac:spMkLst>
        </pc:spChg>
        <pc:picChg chg="add del mod ord">
          <ac:chgData name="Gao, Tianyun (SI BP AUT EA PROD)" userId="25b3c3cc-5a46-4d03-a516-a1293833cff3" providerId="ADAL" clId="{4B4FD342-2CAF-4770-8425-EAD069DD527D}" dt="2021-10-03T19:00:06.517" v="1060" actId="478"/>
          <ac:picMkLst>
            <pc:docMk/>
            <pc:sldMk cId="3617080921" sldId="2495"/>
            <ac:picMk id="4" creationId="{B5A941D5-C3C0-4A43-BA80-39BA5048B64F}"/>
          </ac:picMkLst>
        </pc:picChg>
        <pc:picChg chg="mod">
          <ac:chgData name="Gao, Tianyun (SI BP AUT EA PROD)" userId="25b3c3cc-5a46-4d03-a516-a1293833cff3" providerId="ADAL" clId="{4B4FD342-2CAF-4770-8425-EAD069DD527D}" dt="2021-10-03T19:00:11.239" v="1061" actId="1076"/>
          <ac:picMkLst>
            <pc:docMk/>
            <pc:sldMk cId="3617080921" sldId="2495"/>
            <ac:picMk id="7" creationId="{0E165EF4-E01E-40E7-A654-3855D292C061}"/>
          </ac:picMkLst>
        </pc:picChg>
        <pc:picChg chg="del">
          <ac:chgData name="Gao, Tianyun (SI BP AUT EA PROD)" userId="25b3c3cc-5a46-4d03-a516-a1293833cff3" providerId="ADAL" clId="{4B4FD342-2CAF-4770-8425-EAD069DD527D}" dt="2021-10-03T18:59:13.584" v="1052" actId="478"/>
          <ac:picMkLst>
            <pc:docMk/>
            <pc:sldMk cId="3617080921" sldId="2495"/>
            <ac:picMk id="9" creationId="{8694EFA8-1225-42FA-9FCB-131E6C54F4EF}"/>
          </ac:picMkLst>
        </pc:picChg>
      </pc:sldChg>
      <pc:sldChg chg="modSp mod">
        <pc:chgData name="Gao, Tianyun (SI BP AUT EA PROD)" userId="25b3c3cc-5a46-4d03-a516-a1293833cff3" providerId="ADAL" clId="{4B4FD342-2CAF-4770-8425-EAD069DD527D}" dt="2021-10-03T20:47:03.083" v="2611" actId="20577"/>
        <pc:sldMkLst>
          <pc:docMk/>
          <pc:sldMk cId="981125185" sldId="2496"/>
        </pc:sldMkLst>
        <pc:spChg chg="mod">
          <ac:chgData name="Gao, Tianyun (SI BP AUT EA PROD)" userId="25b3c3cc-5a46-4d03-a516-a1293833cff3" providerId="ADAL" clId="{4B4FD342-2CAF-4770-8425-EAD069DD527D}" dt="2021-10-03T20:47:03.083" v="2611" actId="20577"/>
          <ac:spMkLst>
            <pc:docMk/>
            <pc:sldMk cId="981125185" sldId="2496"/>
            <ac:spMk id="104" creationId="{138359A0-4F99-4CD4-A104-255B217F9BCE}"/>
          </ac:spMkLst>
        </pc:spChg>
      </pc:sldChg>
      <pc:sldChg chg="addSp delSp modSp mod">
        <pc:chgData name="Gao, Tianyun (SI BP AUT EA PROD)" userId="25b3c3cc-5a46-4d03-a516-a1293833cff3" providerId="ADAL" clId="{4B4FD342-2CAF-4770-8425-EAD069DD527D}" dt="2021-10-03T19:34:19.729" v="1444" actId="14100"/>
        <pc:sldMkLst>
          <pc:docMk/>
          <pc:sldMk cId="370757316" sldId="2497"/>
        </pc:sldMkLst>
        <pc:spChg chg="add mod">
          <ac:chgData name="Gao, Tianyun (SI BP AUT EA PROD)" userId="25b3c3cc-5a46-4d03-a516-a1293833cff3" providerId="ADAL" clId="{4B4FD342-2CAF-4770-8425-EAD069DD527D}" dt="2021-10-03T19:32:31.877" v="1279" actId="20577"/>
          <ac:spMkLst>
            <pc:docMk/>
            <pc:sldMk cId="370757316" sldId="2497"/>
            <ac:spMk id="13" creationId="{21F58B57-5072-479A-89C9-A0A0D07B3A40}"/>
          </ac:spMkLst>
        </pc:spChg>
        <pc:spChg chg="add mod">
          <ac:chgData name="Gao, Tianyun (SI BP AUT EA PROD)" userId="25b3c3cc-5a46-4d03-a516-a1293833cff3" providerId="ADAL" clId="{4B4FD342-2CAF-4770-8425-EAD069DD527D}" dt="2021-10-03T19:32:50.958" v="1296" actId="20577"/>
          <ac:spMkLst>
            <pc:docMk/>
            <pc:sldMk cId="370757316" sldId="2497"/>
            <ac:spMk id="14" creationId="{EB828C9E-25E3-4F0D-8498-57D193854036}"/>
          </ac:spMkLst>
        </pc:spChg>
        <pc:spChg chg="add mod">
          <ac:chgData name="Gao, Tianyun (SI BP AUT EA PROD)" userId="25b3c3cc-5a46-4d03-a516-a1293833cff3" providerId="ADAL" clId="{4B4FD342-2CAF-4770-8425-EAD069DD527D}" dt="2021-10-03T19:34:19.729" v="1444" actId="14100"/>
          <ac:spMkLst>
            <pc:docMk/>
            <pc:sldMk cId="370757316" sldId="2497"/>
            <ac:spMk id="15" creationId="{D1A8907A-6719-4AA8-8F19-336F7EA8BF93}"/>
          </ac:spMkLst>
        </pc:spChg>
        <pc:spChg chg="mod">
          <ac:chgData name="Gao, Tianyun (SI BP AUT EA PROD)" userId="25b3c3cc-5a46-4d03-a516-a1293833cff3" providerId="ADAL" clId="{4B4FD342-2CAF-4770-8425-EAD069DD527D}" dt="2021-10-03T19:23:47.212" v="1210" actId="20577"/>
          <ac:spMkLst>
            <pc:docMk/>
            <pc:sldMk cId="370757316" sldId="2497"/>
            <ac:spMk id="28" creationId="{0E80F07F-4042-402D-AA78-ED4E6DDDE9C0}"/>
          </ac:spMkLst>
        </pc:spChg>
        <pc:spChg chg="mod">
          <ac:chgData name="Gao, Tianyun (SI BP AUT EA PROD)" userId="25b3c3cc-5a46-4d03-a516-a1293833cff3" providerId="ADAL" clId="{4B4FD342-2CAF-4770-8425-EAD069DD527D}" dt="2021-10-02T20:47:39.160" v="681" actId="1076"/>
          <ac:spMkLst>
            <pc:docMk/>
            <pc:sldMk cId="370757316" sldId="2497"/>
            <ac:spMk id="40" creationId="{3FEF759D-26B4-40E8-A123-BD6689257C52}"/>
          </ac:spMkLst>
        </pc:spChg>
        <pc:spChg chg="mod">
          <ac:chgData name="Gao, Tianyun (SI BP AUT EA PROD)" userId="25b3c3cc-5a46-4d03-a516-a1293833cff3" providerId="ADAL" clId="{4B4FD342-2CAF-4770-8425-EAD069DD527D}" dt="2021-10-02T20:47:40.870" v="682" actId="1076"/>
          <ac:spMkLst>
            <pc:docMk/>
            <pc:sldMk cId="370757316" sldId="2497"/>
            <ac:spMk id="41" creationId="{0CC0719C-31DF-4696-B647-8BA2C1A73E32}"/>
          </ac:spMkLst>
        </pc:spChg>
        <pc:picChg chg="add mod">
          <ac:chgData name="Gao, Tianyun (SI BP AUT EA PROD)" userId="25b3c3cc-5a46-4d03-a516-a1293833cff3" providerId="ADAL" clId="{4B4FD342-2CAF-4770-8425-EAD069DD527D}" dt="2021-10-02T20:49:49.502" v="694" actId="1076"/>
          <ac:picMkLst>
            <pc:docMk/>
            <pc:sldMk cId="370757316" sldId="2497"/>
            <ac:picMk id="3" creationId="{C5583FD8-193B-4FFC-BD9A-059E252C9C43}"/>
          </ac:picMkLst>
        </pc:picChg>
        <pc:picChg chg="del mod">
          <ac:chgData name="Gao, Tianyun (SI BP AUT EA PROD)" userId="25b3c3cc-5a46-4d03-a516-a1293833cff3" providerId="ADAL" clId="{4B4FD342-2CAF-4770-8425-EAD069DD527D}" dt="2021-10-02T20:47:54.292" v="685" actId="478"/>
          <ac:picMkLst>
            <pc:docMk/>
            <pc:sldMk cId="370757316" sldId="2497"/>
            <ac:picMk id="6" creationId="{6112E28D-1D4F-4145-91CD-FF1949D1BA62}"/>
          </ac:picMkLst>
        </pc:picChg>
      </pc:sldChg>
      <pc:sldChg chg="del">
        <pc:chgData name="Gao, Tianyun (SI BP AUT EA PROD)" userId="25b3c3cc-5a46-4d03-a516-a1293833cff3" providerId="ADAL" clId="{4B4FD342-2CAF-4770-8425-EAD069DD527D}" dt="2021-10-03T19:38:13.993" v="1466" actId="47"/>
        <pc:sldMkLst>
          <pc:docMk/>
          <pc:sldMk cId="2151639941" sldId="2498"/>
        </pc:sldMkLst>
      </pc:sldChg>
      <pc:sldChg chg="del">
        <pc:chgData name="Gao, Tianyun (SI BP AUT EA PROD)" userId="25b3c3cc-5a46-4d03-a516-a1293833cff3" providerId="ADAL" clId="{4B4FD342-2CAF-4770-8425-EAD069DD527D}" dt="2021-10-03T19:38:12.705" v="1465" actId="47"/>
        <pc:sldMkLst>
          <pc:docMk/>
          <pc:sldMk cId="2069274787" sldId="2499"/>
        </pc:sldMkLst>
      </pc:sldChg>
      <pc:sldChg chg="delSp modSp mod">
        <pc:chgData name="Gao, Tianyun (SI BP AUT EA PROD)" userId="25b3c3cc-5a46-4d03-a516-a1293833cff3" providerId="ADAL" clId="{4B4FD342-2CAF-4770-8425-EAD069DD527D}" dt="2021-10-03T20:25:15.937" v="1612"/>
        <pc:sldMkLst>
          <pc:docMk/>
          <pc:sldMk cId="2405968689" sldId="2501"/>
        </pc:sldMkLst>
        <pc:spChg chg="del">
          <ac:chgData name="Gao, Tianyun (SI BP AUT EA PROD)" userId="25b3c3cc-5a46-4d03-a516-a1293833cff3" providerId="ADAL" clId="{4B4FD342-2CAF-4770-8425-EAD069DD527D}" dt="2021-10-03T20:15:58.745" v="1563" actId="478"/>
          <ac:spMkLst>
            <pc:docMk/>
            <pc:sldMk cId="2405968689" sldId="2501"/>
            <ac:spMk id="12" creationId="{E7ECA441-DCF2-499E-A8C4-81842FA8C813}"/>
          </ac:spMkLst>
        </pc:spChg>
        <pc:spChg chg="mod">
          <ac:chgData name="Gao, Tianyun (SI BP AUT EA PROD)" userId="25b3c3cc-5a46-4d03-a516-a1293833cff3" providerId="ADAL" clId="{4B4FD342-2CAF-4770-8425-EAD069DD527D}" dt="2021-10-03T20:25:15.937" v="1612"/>
          <ac:spMkLst>
            <pc:docMk/>
            <pc:sldMk cId="2405968689" sldId="2501"/>
            <ac:spMk id="14" creationId="{F9267173-6A02-41CD-B830-C2A2B4C20811}"/>
          </ac:spMkLst>
        </pc:spChg>
        <pc:spChg chg="mod">
          <ac:chgData name="Gao, Tianyun (SI BP AUT EA PROD)" userId="25b3c3cc-5a46-4d03-a516-a1293833cff3" providerId="ADAL" clId="{4B4FD342-2CAF-4770-8425-EAD069DD527D}" dt="2021-10-01T14:22:19.074" v="20" actId="20577"/>
          <ac:spMkLst>
            <pc:docMk/>
            <pc:sldMk cId="2405968689" sldId="2501"/>
            <ac:spMk id="20" creationId="{2A27FA31-F982-4A71-8CAF-D323DC85DE85}"/>
          </ac:spMkLst>
        </pc:spChg>
      </pc:sldChg>
      <pc:sldChg chg="delSp modSp add mod ord">
        <pc:chgData name="Gao, Tianyun (SI BP AUT EA PROD)" userId="25b3c3cc-5a46-4d03-a516-a1293833cff3" providerId="ADAL" clId="{4B4FD342-2CAF-4770-8425-EAD069DD527D}" dt="2021-10-02T20:15:08.999" v="139"/>
        <pc:sldMkLst>
          <pc:docMk/>
          <pc:sldMk cId="1326469617" sldId="2502"/>
        </pc:sldMkLst>
        <pc:spChg chg="mod">
          <ac:chgData name="Gao, Tianyun (SI BP AUT EA PROD)" userId="25b3c3cc-5a46-4d03-a516-a1293833cff3" providerId="ADAL" clId="{4B4FD342-2CAF-4770-8425-EAD069DD527D}" dt="2021-10-02T20:13:25.956" v="137" actId="1076"/>
          <ac:spMkLst>
            <pc:docMk/>
            <pc:sldMk cId="1326469617" sldId="2502"/>
            <ac:spMk id="18" creationId="{40997B31-84D6-40DD-8F5F-D95DA047F15A}"/>
          </ac:spMkLst>
        </pc:spChg>
        <pc:picChg chg="del">
          <ac:chgData name="Gao, Tianyun (SI BP AUT EA PROD)" userId="25b3c3cc-5a46-4d03-a516-a1293833cff3" providerId="ADAL" clId="{4B4FD342-2CAF-4770-8425-EAD069DD527D}" dt="2021-10-02T20:13:21.696" v="136" actId="478"/>
          <ac:picMkLst>
            <pc:docMk/>
            <pc:sldMk cId="1326469617" sldId="2502"/>
            <ac:picMk id="14" creationId="{37B162FF-9631-454F-B189-B1E30AC3E992}"/>
          </ac:picMkLst>
        </pc:picChg>
      </pc:sldChg>
      <pc:sldChg chg="addSp delSp modSp add mod">
        <pc:chgData name="Gao, Tianyun (SI BP AUT EA PROD)" userId="25b3c3cc-5a46-4d03-a516-a1293833cff3" providerId="ADAL" clId="{4B4FD342-2CAF-4770-8425-EAD069DD527D}" dt="2021-10-03T19:30:51.414" v="1250" actId="20577"/>
        <pc:sldMkLst>
          <pc:docMk/>
          <pc:sldMk cId="55984996" sldId="2503"/>
        </pc:sldMkLst>
        <pc:spChg chg="add mod">
          <ac:chgData name="Gao, Tianyun (SI BP AUT EA PROD)" userId="25b3c3cc-5a46-4d03-a516-a1293833cff3" providerId="ADAL" clId="{4B4FD342-2CAF-4770-8425-EAD069DD527D}" dt="2021-10-02T20:52:29.579" v="865" actId="113"/>
          <ac:spMkLst>
            <pc:docMk/>
            <pc:sldMk cId="55984996" sldId="2503"/>
            <ac:spMk id="14" creationId="{0B7DA2E3-DD35-4959-A381-356D4F5F3C82}"/>
          </ac:spMkLst>
        </pc:spChg>
        <pc:spChg chg="add mod">
          <ac:chgData name="Gao, Tianyun (SI BP AUT EA PROD)" userId="25b3c3cc-5a46-4d03-a516-a1293833cff3" providerId="ADAL" clId="{4B4FD342-2CAF-4770-8425-EAD069DD527D}" dt="2021-10-02T20:52:41.805" v="882" actId="20577"/>
          <ac:spMkLst>
            <pc:docMk/>
            <pc:sldMk cId="55984996" sldId="2503"/>
            <ac:spMk id="15" creationId="{D72E4F39-2C13-46DB-AB55-E2B6718383BD}"/>
          </ac:spMkLst>
        </pc:spChg>
        <pc:spChg chg="add mod">
          <ac:chgData name="Gao, Tianyun (SI BP AUT EA PROD)" userId="25b3c3cc-5a46-4d03-a516-a1293833cff3" providerId="ADAL" clId="{4B4FD342-2CAF-4770-8425-EAD069DD527D}" dt="2021-10-03T19:30:31.924" v="1248" actId="20577"/>
          <ac:spMkLst>
            <pc:docMk/>
            <pc:sldMk cId="55984996" sldId="2503"/>
            <ac:spMk id="16" creationId="{0EAF9FFE-4AD2-43D2-B14B-30E04B9ED96C}"/>
          </ac:spMkLst>
        </pc:spChg>
        <pc:spChg chg="mod">
          <ac:chgData name="Gao, Tianyun (SI BP AUT EA PROD)" userId="25b3c3cc-5a46-4d03-a516-a1293833cff3" providerId="ADAL" clId="{4B4FD342-2CAF-4770-8425-EAD069DD527D}" dt="2021-10-02T20:55:29.702" v="1043" actId="1076"/>
          <ac:spMkLst>
            <pc:docMk/>
            <pc:sldMk cId="55984996" sldId="2503"/>
            <ac:spMk id="19" creationId="{DF9D902B-6E65-4DEC-9E0B-9693ECDB5837}"/>
          </ac:spMkLst>
        </pc:spChg>
        <pc:spChg chg="mod">
          <ac:chgData name="Gao, Tianyun (SI BP AUT EA PROD)" userId="25b3c3cc-5a46-4d03-a516-a1293833cff3" providerId="ADAL" clId="{4B4FD342-2CAF-4770-8425-EAD069DD527D}" dt="2021-10-03T19:30:51.414" v="1250" actId="20577"/>
          <ac:spMkLst>
            <pc:docMk/>
            <pc:sldMk cId="55984996" sldId="2503"/>
            <ac:spMk id="28" creationId="{0E80F07F-4042-402D-AA78-ED4E6DDDE9C0}"/>
          </ac:spMkLst>
        </pc:spChg>
        <pc:spChg chg="del">
          <ac:chgData name="Gao, Tianyun (SI BP AUT EA PROD)" userId="25b3c3cc-5a46-4d03-a516-a1293833cff3" providerId="ADAL" clId="{4B4FD342-2CAF-4770-8425-EAD069DD527D}" dt="2021-10-02T20:50:04.650" v="696" actId="478"/>
          <ac:spMkLst>
            <pc:docMk/>
            <pc:sldMk cId="55984996" sldId="2503"/>
            <ac:spMk id="40" creationId="{3FEF759D-26B4-40E8-A123-BD6689257C52}"/>
          </ac:spMkLst>
        </pc:spChg>
        <pc:spChg chg="del">
          <ac:chgData name="Gao, Tianyun (SI BP AUT EA PROD)" userId="25b3c3cc-5a46-4d03-a516-a1293833cff3" providerId="ADAL" clId="{4B4FD342-2CAF-4770-8425-EAD069DD527D}" dt="2021-10-02T20:50:04.650" v="696" actId="478"/>
          <ac:spMkLst>
            <pc:docMk/>
            <pc:sldMk cId="55984996" sldId="2503"/>
            <ac:spMk id="41" creationId="{0CC0719C-31DF-4696-B647-8BA2C1A73E32}"/>
          </ac:spMkLst>
        </pc:spChg>
        <pc:grpChg chg="add mod">
          <ac:chgData name="Gao, Tianyun (SI BP AUT EA PROD)" userId="25b3c3cc-5a46-4d03-a516-a1293833cff3" providerId="ADAL" clId="{4B4FD342-2CAF-4770-8425-EAD069DD527D}" dt="2021-10-02T20:55:29.702" v="1043" actId="1076"/>
          <ac:grpSpMkLst>
            <pc:docMk/>
            <pc:sldMk cId="55984996" sldId="2503"/>
            <ac:grpSpMk id="17" creationId="{053E505F-4032-4628-96EE-B152CFA25123}"/>
          </ac:grpSpMkLst>
        </pc:grpChg>
        <pc:picChg chg="mod">
          <ac:chgData name="Gao, Tianyun (SI BP AUT EA PROD)" userId="25b3c3cc-5a46-4d03-a516-a1293833cff3" providerId="ADAL" clId="{4B4FD342-2CAF-4770-8425-EAD069DD527D}" dt="2021-10-02T20:51:04.275" v="704" actId="1076"/>
          <ac:picMkLst>
            <pc:docMk/>
            <pc:sldMk cId="55984996" sldId="2503"/>
            <ac:picMk id="6" creationId="{6112E28D-1D4F-4145-91CD-FF1949D1BA62}"/>
          </ac:picMkLst>
        </pc:picChg>
        <pc:picChg chg="add mod">
          <ac:chgData name="Gao, Tianyun (SI BP AUT EA PROD)" userId="25b3c3cc-5a46-4d03-a516-a1293833cff3" providerId="ADAL" clId="{4B4FD342-2CAF-4770-8425-EAD069DD527D}" dt="2021-10-02T20:50:59.951" v="702" actId="1076"/>
          <ac:picMkLst>
            <pc:docMk/>
            <pc:sldMk cId="55984996" sldId="2503"/>
            <ac:picMk id="13" creationId="{93B839A2-5859-4CE3-BFBF-A5189E95A6B5}"/>
          </ac:picMkLst>
        </pc:picChg>
        <pc:picChg chg="mod">
          <ac:chgData name="Gao, Tianyun (SI BP AUT EA PROD)" userId="25b3c3cc-5a46-4d03-a516-a1293833cff3" providerId="ADAL" clId="{4B4FD342-2CAF-4770-8425-EAD069DD527D}" dt="2021-10-02T20:55:29.702" v="1043" actId="1076"/>
          <ac:picMkLst>
            <pc:docMk/>
            <pc:sldMk cId="55984996" sldId="2503"/>
            <ac:picMk id="18" creationId="{98913824-CF65-47AC-AAB5-EF25427EFFBA}"/>
          </ac:picMkLst>
        </pc:picChg>
      </pc:sldChg>
      <pc:sldChg chg="addSp delSp modSp add mod">
        <pc:chgData name="Gao, Tianyun (SI BP AUT EA PROD)" userId="25b3c3cc-5a46-4d03-a516-a1293833cff3" providerId="ADAL" clId="{4B4FD342-2CAF-4770-8425-EAD069DD527D}" dt="2021-10-03T19:39:48.319" v="1534" actId="20577"/>
        <pc:sldMkLst>
          <pc:docMk/>
          <pc:sldMk cId="3365061032" sldId="2504"/>
        </pc:sldMkLst>
        <pc:spChg chg="add mod">
          <ac:chgData name="Gao, Tianyun (SI BP AUT EA PROD)" userId="25b3c3cc-5a46-4d03-a516-a1293833cff3" providerId="ADAL" clId="{4B4FD342-2CAF-4770-8425-EAD069DD527D}" dt="2021-10-03T19:39:48.319" v="1534" actId="20577"/>
          <ac:spMkLst>
            <pc:docMk/>
            <pc:sldMk cId="3365061032" sldId="2504"/>
            <ac:spMk id="7" creationId="{A6C47527-A781-4BF8-89B8-39B6DB273D73}"/>
          </ac:spMkLst>
        </pc:spChg>
        <pc:spChg chg="mod">
          <ac:chgData name="Gao, Tianyun (SI BP AUT EA PROD)" userId="25b3c3cc-5a46-4d03-a516-a1293833cff3" providerId="ADAL" clId="{4B4FD342-2CAF-4770-8425-EAD069DD527D}" dt="2021-10-03T19:38:44.384" v="1476" actId="20577"/>
          <ac:spMkLst>
            <pc:docMk/>
            <pc:sldMk cId="3365061032" sldId="2504"/>
            <ac:spMk id="28" creationId="{0E80F07F-4042-402D-AA78-ED4E6DDDE9C0}"/>
          </ac:spMkLst>
        </pc:spChg>
        <pc:spChg chg="del mod">
          <ac:chgData name="Gao, Tianyun (SI BP AUT EA PROD)" userId="25b3c3cc-5a46-4d03-a516-a1293833cff3" providerId="ADAL" clId="{4B4FD342-2CAF-4770-8425-EAD069DD527D}" dt="2021-10-02T20:56:09.968" v="1049" actId="478"/>
          <ac:spMkLst>
            <pc:docMk/>
            <pc:sldMk cId="3365061032" sldId="2504"/>
            <ac:spMk id="40" creationId="{3FEF759D-26B4-40E8-A123-BD6689257C52}"/>
          </ac:spMkLst>
        </pc:spChg>
        <pc:spChg chg="del mod">
          <ac:chgData name="Gao, Tianyun (SI BP AUT EA PROD)" userId="25b3c3cc-5a46-4d03-a516-a1293833cff3" providerId="ADAL" clId="{4B4FD342-2CAF-4770-8425-EAD069DD527D}" dt="2021-10-02T20:56:09.968" v="1049" actId="478"/>
          <ac:spMkLst>
            <pc:docMk/>
            <pc:sldMk cId="3365061032" sldId="2504"/>
            <ac:spMk id="41" creationId="{0CC0719C-31DF-4696-B647-8BA2C1A73E32}"/>
          </ac:spMkLst>
        </pc:spChg>
        <pc:picChg chg="del">
          <ac:chgData name="Gao, Tianyun (SI BP AUT EA PROD)" userId="25b3c3cc-5a46-4d03-a516-a1293833cff3" providerId="ADAL" clId="{4B4FD342-2CAF-4770-8425-EAD069DD527D}" dt="2021-10-02T20:55:43.079" v="1045" actId="478"/>
          <ac:picMkLst>
            <pc:docMk/>
            <pc:sldMk cId="3365061032" sldId="2504"/>
            <ac:picMk id="6" creationId="{6112E28D-1D4F-4145-91CD-FF1949D1BA62}"/>
          </ac:picMkLst>
        </pc:picChg>
      </pc:sldChg>
      <pc:sldChg chg="addSp delSp modSp add mod">
        <pc:chgData name="Gao, Tianyun (SI BP AUT EA PROD)" userId="25b3c3cc-5a46-4d03-a516-a1293833cff3" providerId="ADAL" clId="{4B4FD342-2CAF-4770-8425-EAD069DD527D}" dt="2021-10-03T19:05:07.094" v="1134" actId="1076"/>
        <pc:sldMkLst>
          <pc:docMk/>
          <pc:sldMk cId="3944122184" sldId="2505"/>
        </pc:sldMkLst>
        <pc:spChg chg="add del">
          <ac:chgData name="Gao, Tianyun (SI BP AUT EA PROD)" userId="25b3c3cc-5a46-4d03-a516-a1293833cff3" providerId="ADAL" clId="{4B4FD342-2CAF-4770-8425-EAD069DD527D}" dt="2021-10-03T19:03:31.890" v="1113" actId="478"/>
          <ac:spMkLst>
            <pc:docMk/>
            <pc:sldMk cId="3944122184" sldId="2505"/>
            <ac:spMk id="14" creationId="{B3E8F97C-ABB2-4A19-95F8-3B695F064573}"/>
          </ac:spMkLst>
        </pc:spChg>
        <pc:spChg chg="mod">
          <ac:chgData name="Gao, Tianyun (SI BP AUT EA PROD)" userId="25b3c3cc-5a46-4d03-a516-a1293833cff3" providerId="ADAL" clId="{4B4FD342-2CAF-4770-8425-EAD069DD527D}" dt="2021-10-03T19:03:31.295" v="1112" actId="1076"/>
          <ac:spMkLst>
            <pc:docMk/>
            <pc:sldMk cId="3944122184" sldId="2505"/>
            <ac:spMk id="16" creationId="{28A57370-8F4B-48B5-836F-5074CC21C5E0}"/>
          </ac:spMkLst>
        </pc:spChg>
        <pc:spChg chg="mod">
          <ac:chgData name="Gao, Tianyun (SI BP AUT EA PROD)" userId="25b3c3cc-5a46-4d03-a516-a1293833cff3" providerId="ADAL" clId="{4B4FD342-2CAF-4770-8425-EAD069DD527D}" dt="2021-10-03T19:04:49.463" v="1129" actId="1076"/>
          <ac:spMkLst>
            <pc:docMk/>
            <pc:sldMk cId="3944122184" sldId="2505"/>
            <ac:spMk id="19" creationId="{76D3B8E7-F217-4033-9244-A53A49FDAFDF}"/>
          </ac:spMkLst>
        </pc:spChg>
        <pc:spChg chg="mod">
          <ac:chgData name="Gao, Tianyun (SI BP AUT EA PROD)" userId="25b3c3cc-5a46-4d03-a516-a1293833cff3" providerId="ADAL" clId="{4B4FD342-2CAF-4770-8425-EAD069DD527D}" dt="2021-10-03T19:04:45.037" v="1128" actId="1076"/>
          <ac:spMkLst>
            <pc:docMk/>
            <pc:sldMk cId="3944122184" sldId="2505"/>
            <ac:spMk id="20" creationId="{B93C5DE2-42CB-4D6F-9627-161EEB71AADA}"/>
          </ac:spMkLst>
        </pc:spChg>
        <pc:spChg chg="del">
          <ac:chgData name="Gao, Tianyun (SI BP AUT EA PROD)" userId="25b3c3cc-5a46-4d03-a516-a1293833cff3" providerId="ADAL" clId="{4B4FD342-2CAF-4770-8425-EAD069DD527D}" dt="2021-10-03T19:00:42.535" v="1070" actId="478"/>
          <ac:spMkLst>
            <pc:docMk/>
            <pc:sldMk cId="3944122184" sldId="2505"/>
            <ac:spMk id="22" creationId="{C483AC38-7550-4385-B304-62C70297DA02}"/>
          </ac:spMkLst>
        </pc:spChg>
        <pc:spChg chg="del">
          <ac:chgData name="Gao, Tianyun (SI BP AUT EA PROD)" userId="25b3c3cc-5a46-4d03-a516-a1293833cff3" providerId="ADAL" clId="{4B4FD342-2CAF-4770-8425-EAD069DD527D}" dt="2021-10-03T19:00:42.535" v="1070" actId="478"/>
          <ac:spMkLst>
            <pc:docMk/>
            <pc:sldMk cId="3944122184" sldId="2505"/>
            <ac:spMk id="25" creationId="{5DF5100C-F290-4C0F-A9B9-7C9FDC6060DF}"/>
          </ac:spMkLst>
        </pc:spChg>
        <pc:spChg chg="del">
          <ac:chgData name="Gao, Tianyun (SI BP AUT EA PROD)" userId="25b3c3cc-5a46-4d03-a516-a1293833cff3" providerId="ADAL" clId="{4B4FD342-2CAF-4770-8425-EAD069DD527D}" dt="2021-10-03T19:00:42.535" v="1070" actId="478"/>
          <ac:spMkLst>
            <pc:docMk/>
            <pc:sldMk cId="3944122184" sldId="2505"/>
            <ac:spMk id="27" creationId="{A103A0C4-915D-4AA5-A448-C78A9AB0DEC9}"/>
          </ac:spMkLst>
        </pc:spChg>
        <pc:spChg chg="del">
          <ac:chgData name="Gao, Tianyun (SI BP AUT EA PROD)" userId="25b3c3cc-5a46-4d03-a516-a1293833cff3" providerId="ADAL" clId="{4B4FD342-2CAF-4770-8425-EAD069DD527D}" dt="2021-10-03T19:00:42.535" v="1070" actId="478"/>
          <ac:spMkLst>
            <pc:docMk/>
            <pc:sldMk cId="3944122184" sldId="2505"/>
            <ac:spMk id="29" creationId="{CA5ABBD5-FD62-48E4-947A-F7700038C9CD}"/>
          </ac:spMkLst>
        </pc:spChg>
        <pc:spChg chg="add mod">
          <ac:chgData name="Gao, Tianyun (SI BP AUT EA PROD)" userId="25b3c3cc-5a46-4d03-a516-a1293833cff3" providerId="ADAL" clId="{4B4FD342-2CAF-4770-8425-EAD069DD527D}" dt="2021-10-03T19:03:44.286" v="1114"/>
          <ac:spMkLst>
            <pc:docMk/>
            <pc:sldMk cId="3944122184" sldId="2505"/>
            <ac:spMk id="30" creationId="{5BC3D0AE-17A3-4F66-9535-BCF123CCAED9}"/>
          </ac:spMkLst>
        </pc:spChg>
        <pc:spChg chg="mod">
          <ac:chgData name="Gao, Tianyun (SI BP AUT EA PROD)" userId="25b3c3cc-5a46-4d03-a516-a1293833cff3" providerId="ADAL" clId="{4B4FD342-2CAF-4770-8425-EAD069DD527D}" dt="2021-10-03T19:03:31.295" v="1112" actId="1076"/>
          <ac:spMkLst>
            <pc:docMk/>
            <pc:sldMk cId="3944122184" sldId="2505"/>
            <ac:spMk id="31" creationId="{69426052-8C34-4070-A649-B01801B08EFA}"/>
          </ac:spMkLst>
        </pc:spChg>
        <pc:spChg chg="del">
          <ac:chgData name="Gao, Tianyun (SI BP AUT EA PROD)" userId="25b3c3cc-5a46-4d03-a516-a1293833cff3" providerId="ADAL" clId="{4B4FD342-2CAF-4770-8425-EAD069DD527D}" dt="2021-10-03T19:00:42.535" v="1070" actId="478"/>
          <ac:spMkLst>
            <pc:docMk/>
            <pc:sldMk cId="3944122184" sldId="2505"/>
            <ac:spMk id="32" creationId="{53A682F4-D21B-49D7-9EBA-3A760FB03C33}"/>
          </ac:spMkLst>
        </pc:spChg>
        <pc:spChg chg="mod">
          <ac:chgData name="Gao, Tianyun (SI BP AUT EA PROD)" userId="25b3c3cc-5a46-4d03-a516-a1293833cff3" providerId="ADAL" clId="{4B4FD342-2CAF-4770-8425-EAD069DD527D}" dt="2021-10-03T19:03:31.295" v="1112" actId="1076"/>
          <ac:spMkLst>
            <pc:docMk/>
            <pc:sldMk cId="3944122184" sldId="2505"/>
            <ac:spMk id="33" creationId="{875127C9-FCBA-48AB-9655-AA88E2B10637}"/>
          </ac:spMkLst>
        </pc:spChg>
        <pc:spChg chg="mod">
          <ac:chgData name="Gao, Tianyun (SI BP AUT EA PROD)" userId="25b3c3cc-5a46-4d03-a516-a1293833cff3" providerId="ADAL" clId="{4B4FD342-2CAF-4770-8425-EAD069DD527D}" dt="2021-10-03T19:03:31.295" v="1112" actId="1076"/>
          <ac:spMkLst>
            <pc:docMk/>
            <pc:sldMk cId="3944122184" sldId="2505"/>
            <ac:spMk id="34" creationId="{C980011D-61EE-4F9D-966C-9E79F63971A0}"/>
          </ac:spMkLst>
        </pc:spChg>
        <pc:spChg chg="mod">
          <ac:chgData name="Gao, Tianyun (SI BP AUT EA PROD)" userId="25b3c3cc-5a46-4d03-a516-a1293833cff3" providerId="ADAL" clId="{4B4FD342-2CAF-4770-8425-EAD069DD527D}" dt="2021-10-03T19:03:31.295" v="1112" actId="1076"/>
          <ac:spMkLst>
            <pc:docMk/>
            <pc:sldMk cId="3944122184" sldId="2505"/>
            <ac:spMk id="35" creationId="{AAFE5C34-B8AA-4E66-B456-300D645725DF}"/>
          </ac:spMkLst>
        </pc:spChg>
        <pc:spChg chg="mod">
          <ac:chgData name="Gao, Tianyun (SI BP AUT EA PROD)" userId="25b3c3cc-5a46-4d03-a516-a1293833cff3" providerId="ADAL" clId="{4B4FD342-2CAF-4770-8425-EAD069DD527D}" dt="2021-10-03T19:03:31.295" v="1112" actId="1076"/>
          <ac:spMkLst>
            <pc:docMk/>
            <pc:sldMk cId="3944122184" sldId="2505"/>
            <ac:spMk id="36" creationId="{C972618A-32D5-4F0E-AF90-E3321311DC63}"/>
          </ac:spMkLst>
        </pc:spChg>
        <pc:spChg chg="mod">
          <ac:chgData name="Gao, Tianyun (SI BP AUT EA PROD)" userId="25b3c3cc-5a46-4d03-a516-a1293833cff3" providerId="ADAL" clId="{4B4FD342-2CAF-4770-8425-EAD069DD527D}" dt="2021-10-03T19:04:33.665" v="1124" actId="14100"/>
          <ac:spMkLst>
            <pc:docMk/>
            <pc:sldMk cId="3944122184" sldId="2505"/>
            <ac:spMk id="37" creationId="{92FDA62D-6306-4AEC-8D33-7ACBB9D53739}"/>
          </ac:spMkLst>
        </pc:spChg>
        <pc:spChg chg="mod">
          <ac:chgData name="Gao, Tianyun (SI BP AUT EA PROD)" userId="25b3c3cc-5a46-4d03-a516-a1293833cff3" providerId="ADAL" clId="{4B4FD342-2CAF-4770-8425-EAD069DD527D}" dt="2021-10-03T19:05:03.988" v="1133" actId="1076"/>
          <ac:spMkLst>
            <pc:docMk/>
            <pc:sldMk cId="3944122184" sldId="2505"/>
            <ac:spMk id="38" creationId="{D1CFCD05-E3E6-47ED-BA4C-FCE8ADD2CCF7}"/>
          </ac:spMkLst>
        </pc:spChg>
        <pc:spChg chg="mod">
          <ac:chgData name="Gao, Tianyun (SI BP AUT EA PROD)" userId="25b3c3cc-5a46-4d03-a516-a1293833cff3" providerId="ADAL" clId="{4B4FD342-2CAF-4770-8425-EAD069DD527D}" dt="2021-10-03T19:05:07.094" v="1134" actId="1076"/>
          <ac:spMkLst>
            <pc:docMk/>
            <pc:sldMk cId="3944122184" sldId="2505"/>
            <ac:spMk id="39" creationId="{53E677A6-0172-4202-9F2E-38CAE5B50818}"/>
          </ac:spMkLst>
        </pc:spChg>
        <pc:spChg chg="add mod">
          <ac:chgData name="Gao, Tianyun (SI BP AUT EA PROD)" userId="25b3c3cc-5a46-4d03-a516-a1293833cff3" providerId="ADAL" clId="{4B4FD342-2CAF-4770-8425-EAD069DD527D}" dt="2021-10-03T19:03:44.286" v="1114"/>
          <ac:spMkLst>
            <pc:docMk/>
            <pc:sldMk cId="3944122184" sldId="2505"/>
            <ac:spMk id="42" creationId="{93A5E011-CEF2-42B8-8323-CBD3EBDDFAEA}"/>
          </ac:spMkLst>
        </pc:spChg>
        <pc:spChg chg="add mod">
          <ac:chgData name="Gao, Tianyun (SI BP AUT EA PROD)" userId="25b3c3cc-5a46-4d03-a516-a1293833cff3" providerId="ADAL" clId="{4B4FD342-2CAF-4770-8425-EAD069DD527D}" dt="2021-10-03T19:03:44.286" v="1114"/>
          <ac:spMkLst>
            <pc:docMk/>
            <pc:sldMk cId="3944122184" sldId="2505"/>
            <ac:spMk id="43" creationId="{8EF7824E-B815-43BB-A1EE-0062E6A23366}"/>
          </ac:spMkLst>
        </pc:spChg>
        <pc:spChg chg="add mod">
          <ac:chgData name="Gao, Tianyun (SI BP AUT EA PROD)" userId="25b3c3cc-5a46-4d03-a516-a1293833cff3" providerId="ADAL" clId="{4B4FD342-2CAF-4770-8425-EAD069DD527D}" dt="2021-10-03T19:03:56.839" v="1117" actId="14100"/>
          <ac:spMkLst>
            <pc:docMk/>
            <pc:sldMk cId="3944122184" sldId="2505"/>
            <ac:spMk id="44" creationId="{C25AFED6-F466-4C13-97CD-969E17364F0C}"/>
          </ac:spMkLst>
        </pc:spChg>
        <pc:spChg chg="add mod">
          <ac:chgData name="Gao, Tianyun (SI BP AUT EA PROD)" userId="25b3c3cc-5a46-4d03-a516-a1293833cff3" providerId="ADAL" clId="{4B4FD342-2CAF-4770-8425-EAD069DD527D}" dt="2021-10-03T19:04:12.379" v="1121" actId="1076"/>
          <ac:spMkLst>
            <pc:docMk/>
            <pc:sldMk cId="3944122184" sldId="2505"/>
            <ac:spMk id="45" creationId="{46E50453-C6CA-4B2E-A792-08C6395F9B3F}"/>
          </ac:spMkLst>
        </pc:spChg>
        <pc:picChg chg="del">
          <ac:chgData name="Gao, Tianyun (SI BP AUT EA PROD)" userId="25b3c3cc-5a46-4d03-a516-a1293833cff3" providerId="ADAL" clId="{4B4FD342-2CAF-4770-8425-EAD069DD527D}" dt="2021-10-03T19:00:42.535" v="1070" actId="478"/>
          <ac:picMkLst>
            <pc:docMk/>
            <pc:sldMk cId="3944122184" sldId="2505"/>
            <ac:picMk id="3" creationId="{383A8F7F-EAB8-4605-9BDA-98FAADD6B10A}"/>
          </ac:picMkLst>
        </pc:picChg>
        <pc:picChg chg="mod">
          <ac:chgData name="Gao, Tianyun (SI BP AUT EA PROD)" userId="25b3c3cc-5a46-4d03-a516-a1293833cff3" providerId="ADAL" clId="{4B4FD342-2CAF-4770-8425-EAD069DD527D}" dt="2021-10-03T19:03:31.295" v="1112" actId="1076"/>
          <ac:picMkLst>
            <pc:docMk/>
            <pc:sldMk cId="3944122184" sldId="2505"/>
            <ac:picMk id="4" creationId="{B5A941D5-C3C0-4A43-BA80-39BA5048B64F}"/>
          </ac:picMkLst>
        </pc:picChg>
        <pc:picChg chg="mod">
          <ac:chgData name="Gao, Tianyun (SI BP AUT EA PROD)" userId="25b3c3cc-5a46-4d03-a516-a1293833cff3" providerId="ADAL" clId="{4B4FD342-2CAF-4770-8425-EAD069DD527D}" dt="2021-10-03T19:03:31.295" v="1112" actId="1076"/>
          <ac:picMkLst>
            <pc:docMk/>
            <pc:sldMk cId="3944122184" sldId="2505"/>
            <ac:picMk id="7" creationId="{0E165EF4-E01E-40E7-A654-3855D292C061}"/>
          </ac:picMkLst>
        </pc:picChg>
        <pc:picChg chg="del">
          <ac:chgData name="Gao, Tianyun (SI BP AUT EA PROD)" userId="25b3c3cc-5a46-4d03-a516-a1293833cff3" providerId="ADAL" clId="{4B4FD342-2CAF-4770-8425-EAD069DD527D}" dt="2021-10-03T19:00:42.535" v="1070" actId="478"/>
          <ac:picMkLst>
            <pc:docMk/>
            <pc:sldMk cId="3944122184" sldId="2505"/>
            <ac:picMk id="24" creationId="{D987CD76-BEC3-4F7A-8FC4-54EB49CEE090}"/>
          </ac:picMkLst>
        </pc:picChg>
        <pc:picChg chg="del">
          <ac:chgData name="Gao, Tianyun (SI BP AUT EA PROD)" userId="25b3c3cc-5a46-4d03-a516-a1293833cff3" providerId="ADAL" clId="{4B4FD342-2CAF-4770-8425-EAD069DD527D}" dt="2021-10-03T19:00:42.535" v="1070" actId="478"/>
          <ac:picMkLst>
            <pc:docMk/>
            <pc:sldMk cId="3944122184" sldId="2505"/>
            <ac:picMk id="26" creationId="{9CE835A3-480B-4436-AFB7-B4C2CA6A9E79}"/>
          </ac:picMkLst>
        </pc:picChg>
        <pc:picChg chg="add mod">
          <ac:chgData name="Gao, Tianyun (SI BP AUT EA PROD)" userId="25b3c3cc-5a46-4d03-a516-a1293833cff3" providerId="ADAL" clId="{4B4FD342-2CAF-4770-8425-EAD069DD527D}" dt="2021-10-03T19:03:44.286" v="1114"/>
          <ac:picMkLst>
            <pc:docMk/>
            <pc:sldMk cId="3944122184" sldId="2505"/>
            <ac:picMk id="28" creationId="{7A3EC993-74F9-4AC5-95CE-B9FB90A83CA3}"/>
          </ac:picMkLst>
        </pc:picChg>
        <pc:picChg chg="add mod">
          <ac:chgData name="Gao, Tianyun (SI BP AUT EA PROD)" userId="25b3c3cc-5a46-4d03-a516-a1293833cff3" providerId="ADAL" clId="{4B4FD342-2CAF-4770-8425-EAD069DD527D}" dt="2021-10-03T19:03:44.286" v="1114"/>
          <ac:picMkLst>
            <pc:docMk/>
            <pc:sldMk cId="3944122184" sldId="2505"/>
            <ac:picMk id="40" creationId="{82FE3BEE-B5E5-40BA-9192-6298C257BB4A}"/>
          </ac:picMkLst>
        </pc:picChg>
        <pc:picChg chg="add mod">
          <ac:chgData name="Gao, Tianyun (SI BP AUT EA PROD)" userId="25b3c3cc-5a46-4d03-a516-a1293833cff3" providerId="ADAL" clId="{4B4FD342-2CAF-4770-8425-EAD069DD527D}" dt="2021-10-03T19:03:44.286" v="1114"/>
          <ac:picMkLst>
            <pc:docMk/>
            <pc:sldMk cId="3944122184" sldId="2505"/>
            <ac:picMk id="41" creationId="{542B8FB7-8112-4384-8B81-0E7528ACF1F1}"/>
          </ac:picMkLst>
        </pc:picChg>
      </pc:sldChg>
      <pc:sldChg chg="modSp add del mod">
        <pc:chgData name="Gao, Tianyun (SI BP AUT EA PROD)" userId="25b3c3cc-5a46-4d03-a516-a1293833cff3" providerId="ADAL" clId="{4B4FD342-2CAF-4770-8425-EAD069DD527D}" dt="2021-10-03T20:46:58.314" v="2610" actId="47"/>
        <pc:sldMkLst>
          <pc:docMk/>
          <pc:sldMk cId="2778935842" sldId="2506"/>
        </pc:sldMkLst>
        <pc:spChg chg="mod">
          <ac:chgData name="Gao, Tianyun (SI BP AUT EA PROD)" userId="25b3c3cc-5a46-4d03-a516-a1293833cff3" providerId="ADAL" clId="{4B4FD342-2CAF-4770-8425-EAD069DD527D}" dt="2021-10-03T20:25:29.382" v="1615"/>
          <ac:spMkLst>
            <pc:docMk/>
            <pc:sldMk cId="2778935842" sldId="2506"/>
            <ac:spMk id="14" creationId="{F9267173-6A02-41CD-B830-C2A2B4C20811}"/>
          </ac:spMkLst>
        </pc:spChg>
        <pc:spChg chg="mod">
          <ac:chgData name="Gao, Tianyun (SI BP AUT EA PROD)" userId="25b3c3cc-5a46-4d03-a516-a1293833cff3" providerId="ADAL" clId="{4B4FD342-2CAF-4770-8425-EAD069DD527D}" dt="2021-10-03T20:29:06.542" v="1920" actId="20577"/>
          <ac:spMkLst>
            <pc:docMk/>
            <pc:sldMk cId="2778935842" sldId="2506"/>
            <ac:spMk id="20" creationId="{2A27FA31-F982-4A71-8CAF-D323DC85DE85}"/>
          </ac:spMkLst>
        </pc:spChg>
      </pc:sldChg>
      <pc:sldChg chg="addSp delSp modSp add mod">
        <pc:chgData name="Gao, Tianyun (SI BP AUT EA PROD)" userId="25b3c3cc-5a46-4d03-a516-a1293833cff3" providerId="ADAL" clId="{4B4FD342-2CAF-4770-8425-EAD069DD527D}" dt="2021-10-03T20:41:16.514" v="2609" actId="1076"/>
        <pc:sldMkLst>
          <pc:docMk/>
          <pc:sldMk cId="2176441571" sldId="2507"/>
        </pc:sldMkLst>
        <pc:spChg chg="del">
          <ac:chgData name="Gao, Tianyun (SI BP AUT EA PROD)" userId="25b3c3cc-5a46-4d03-a516-a1293833cff3" providerId="ADAL" clId="{4B4FD342-2CAF-4770-8425-EAD069DD527D}" dt="2021-10-03T20:32:11.242" v="1957" actId="478"/>
          <ac:spMkLst>
            <pc:docMk/>
            <pc:sldMk cId="2176441571" sldId="2507"/>
            <ac:spMk id="7" creationId="{A6C47527-A781-4BF8-89B8-39B6DB273D73}"/>
          </ac:spMkLst>
        </pc:spChg>
        <pc:spChg chg="mod">
          <ac:chgData name="Gao, Tianyun (SI BP AUT EA PROD)" userId="25b3c3cc-5a46-4d03-a516-a1293833cff3" providerId="ADAL" clId="{4B4FD342-2CAF-4770-8425-EAD069DD527D}" dt="2021-10-03T20:32:05.099" v="1956" actId="6549"/>
          <ac:spMkLst>
            <pc:docMk/>
            <pc:sldMk cId="2176441571" sldId="2507"/>
            <ac:spMk id="11" creationId="{78147749-85E7-4110-B55A-DB45D6D85C1A}"/>
          </ac:spMkLst>
        </pc:spChg>
        <pc:spChg chg="add mod">
          <ac:chgData name="Gao, Tianyun (SI BP AUT EA PROD)" userId="25b3c3cc-5a46-4d03-a516-a1293833cff3" providerId="ADAL" clId="{4B4FD342-2CAF-4770-8425-EAD069DD527D}" dt="2021-10-03T20:41:12.557" v="2607" actId="1035"/>
          <ac:spMkLst>
            <pc:docMk/>
            <pc:sldMk cId="2176441571" sldId="2507"/>
            <ac:spMk id="15" creationId="{0957C7C5-FA51-4D7A-A629-D945BA21F754}"/>
          </ac:spMkLst>
        </pc:spChg>
        <pc:spChg chg="add mod">
          <ac:chgData name="Gao, Tianyun (SI BP AUT EA PROD)" userId="25b3c3cc-5a46-4d03-a516-a1293833cff3" providerId="ADAL" clId="{4B4FD342-2CAF-4770-8425-EAD069DD527D}" dt="2021-10-03T20:41:07.775" v="2606" actId="20577"/>
          <ac:spMkLst>
            <pc:docMk/>
            <pc:sldMk cId="2176441571" sldId="2507"/>
            <ac:spMk id="16" creationId="{CDE61304-738E-438A-82BB-0717FA12DFA5}"/>
          </ac:spMkLst>
        </pc:spChg>
        <pc:spChg chg="mod">
          <ac:chgData name="Gao, Tianyun (SI BP AUT EA PROD)" userId="25b3c3cc-5a46-4d03-a516-a1293833cff3" providerId="ADAL" clId="{4B4FD342-2CAF-4770-8425-EAD069DD527D}" dt="2021-10-03T20:41:16.514" v="2609" actId="1076"/>
          <ac:spMkLst>
            <pc:docMk/>
            <pc:sldMk cId="2176441571" sldId="2507"/>
            <ac:spMk id="28" creationId="{0E80F07F-4042-402D-AA78-ED4E6DDDE9C0}"/>
          </ac:spMkLst>
        </pc:spChg>
        <pc:picChg chg="add mod">
          <ac:chgData name="Gao, Tianyun (SI BP AUT EA PROD)" userId="25b3c3cc-5a46-4d03-a516-a1293833cff3" providerId="ADAL" clId="{4B4FD342-2CAF-4770-8425-EAD069DD527D}" dt="2021-10-03T20:33:14.480" v="1966" actId="1076"/>
          <ac:picMkLst>
            <pc:docMk/>
            <pc:sldMk cId="2176441571" sldId="2507"/>
            <ac:picMk id="3" creationId="{89CFCF87-2A8A-4E48-81A6-739677FC017E}"/>
          </ac:picMkLst>
        </pc:picChg>
        <pc:picChg chg="add mod">
          <ac:chgData name="Gao, Tianyun (SI BP AUT EA PROD)" userId="25b3c3cc-5a46-4d03-a516-a1293833cff3" providerId="ADAL" clId="{4B4FD342-2CAF-4770-8425-EAD069DD527D}" dt="2021-10-03T20:39:50.660" v="2543" actId="1076"/>
          <ac:picMkLst>
            <pc:docMk/>
            <pc:sldMk cId="2176441571" sldId="2507"/>
            <ac:picMk id="13" creationId="{BBA55C01-E707-45BC-B2EC-DD551F650747}"/>
          </ac:picMkLst>
        </pc:picChg>
        <pc:picChg chg="add mod">
          <ac:chgData name="Gao, Tianyun (SI BP AUT EA PROD)" userId="25b3c3cc-5a46-4d03-a516-a1293833cff3" providerId="ADAL" clId="{4B4FD342-2CAF-4770-8425-EAD069DD527D}" dt="2021-10-03T20:40:24.604" v="2550" actId="1076"/>
          <ac:picMkLst>
            <pc:docMk/>
            <pc:sldMk cId="2176441571" sldId="2507"/>
            <ac:picMk id="14" creationId="{079F1D98-4E93-4B61-BC91-349FCF329F7B}"/>
          </ac:picMkLst>
        </pc:picChg>
      </pc:sldChg>
      <pc:sldMasterChg chg="delSldLayout">
        <pc:chgData name="Gao, Tianyun (SI BP AUT EA PROD)" userId="25b3c3cc-5a46-4d03-a516-a1293833cff3" providerId="ADAL" clId="{4B4FD342-2CAF-4770-8425-EAD069DD527D}" dt="2021-10-03T20:09:22.184" v="1535" actId="2696"/>
        <pc:sldMasterMkLst>
          <pc:docMk/>
          <pc:sldMasterMk cId="0" sldId="2147483669"/>
        </pc:sldMasterMkLst>
        <pc:sldLayoutChg chg="del">
          <pc:chgData name="Gao, Tianyun (SI BP AUT EA PROD)" userId="25b3c3cc-5a46-4d03-a516-a1293833cff3" providerId="ADAL" clId="{4B4FD342-2CAF-4770-8425-EAD069DD527D}" dt="2021-10-03T20:09:22.184" v="1535" actId="2696"/>
          <pc:sldLayoutMkLst>
            <pc:docMk/>
            <pc:sldMasterMk cId="0" sldId="2147483669"/>
            <pc:sldLayoutMk cId="662030837" sldId="2147483695"/>
          </pc:sldLayoutMkLst>
        </pc:sldLayoutChg>
        <pc:sldLayoutChg chg="del">
          <pc:chgData name="Gao, Tianyun (SI BP AUT EA PROD)" userId="25b3c3cc-5a46-4d03-a516-a1293833cff3" providerId="ADAL" clId="{4B4FD342-2CAF-4770-8425-EAD069DD527D}" dt="2021-10-03T19:38:13.993" v="1466" actId="47"/>
          <pc:sldLayoutMkLst>
            <pc:docMk/>
            <pc:sldMasterMk cId="0" sldId="2147483669"/>
            <pc:sldLayoutMk cId="2506326454" sldId="2147483702"/>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6797675" cy="677481"/>
          </a:xfrm>
          <a:prstGeom prst="rect">
            <a:avLst/>
          </a:prstGeom>
          <a:solidFill>
            <a:srgbClr val="879BAA"/>
          </a:solidFill>
          <a:ln w="9525" algn="ctr">
            <a:noFill/>
            <a:miter lim="800000"/>
            <a:headEnd/>
            <a:tailEnd/>
          </a:ln>
          <a:effectLst/>
        </p:spPr>
        <p:txBody>
          <a:bodyPr wrap="none" lIns="86018" tIns="43009" rIns="86018" bIns="43009" anchor="ctr"/>
          <a:lstStyle/>
          <a:p>
            <a:endParaRPr lang="de-DE"/>
          </a:p>
        </p:txBody>
      </p:sp>
      <p:sp>
        <p:nvSpPr>
          <p:cNvPr id="173058" name="Rectangle 2"/>
          <p:cNvSpPr>
            <a:spLocks noGrp="1" noChangeArrowheads="1"/>
          </p:cNvSpPr>
          <p:nvPr>
            <p:ph type="hdr" sz="quarter"/>
          </p:nvPr>
        </p:nvSpPr>
        <p:spPr bwMode="auto">
          <a:xfrm>
            <a:off x="1" y="1"/>
            <a:ext cx="3111548"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defTabSz="887057">
              <a:spcBef>
                <a:spcPct val="0"/>
              </a:spcBef>
              <a:defRPr sz="1100">
                <a:solidFill>
                  <a:schemeClr val="bg1"/>
                </a:solidFill>
                <a:latin typeface="Siemens Sans" pitchFamily="2" charset="0"/>
              </a:defRPr>
            </a:lvl1pPr>
          </a:lstStyle>
          <a:p>
            <a:endParaRPr lang="en-US">
              <a:latin typeface="Arial" pitchFamily="34" charset="0"/>
            </a:endParaRPr>
          </a:p>
        </p:txBody>
      </p:sp>
      <p:sp>
        <p:nvSpPr>
          <p:cNvPr id="173059" name="Rectangle 3"/>
          <p:cNvSpPr>
            <a:spLocks noGrp="1" noChangeArrowheads="1"/>
          </p:cNvSpPr>
          <p:nvPr>
            <p:ph type="dt" sz="quarter" idx="1"/>
          </p:nvPr>
        </p:nvSpPr>
        <p:spPr bwMode="auto">
          <a:xfrm>
            <a:off x="3686129" y="1"/>
            <a:ext cx="3111547"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algn="r" defTabSz="887057">
              <a:spcBef>
                <a:spcPct val="0"/>
              </a:spcBef>
              <a:defRPr sz="1100">
                <a:solidFill>
                  <a:schemeClr val="bg1"/>
                </a:solidFill>
                <a:latin typeface="Siemens Sans" pitchFamily="2" charset="0"/>
              </a:defRPr>
            </a:lvl1pPr>
          </a:lstStyle>
          <a:p>
            <a:endParaRPr lang="en-US">
              <a:latin typeface="Arial" pitchFamily="34" charset="0"/>
            </a:endParaRPr>
          </a:p>
        </p:txBody>
      </p:sp>
      <p:sp>
        <p:nvSpPr>
          <p:cNvPr id="173060" name="Rectangle 4"/>
          <p:cNvSpPr>
            <a:spLocks noGrp="1" noChangeArrowheads="1"/>
          </p:cNvSpPr>
          <p:nvPr>
            <p:ph type="ftr" sz="quarter" idx="2"/>
          </p:nvPr>
        </p:nvSpPr>
        <p:spPr bwMode="auto">
          <a:xfrm>
            <a:off x="1" y="9390812"/>
            <a:ext cx="3111548" cy="53582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defTabSz="887057">
              <a:spcBef>
                <a:spcPct val="0"/>
              </a:spcBef>
              <a:defRPr sz="1100">
                <a:solidFill>
                  <a:schemeClr val="tx1"/>
                </a:solidFill>
                <a:latin typeface="Siemens Sans" pitchFamily="2" charset="0"/>
              </a:defRPr>
            </a:lvl1pPr>
          </a:lstStyle>
          <a:p>
            <a:endParaRPr lang="en-US">
              <a:latin typeface="Arial" pitchFamily="34" charset="0"/>
            </a:endParaRPr>
          </a:p>
        </p:txBody>
      </p:sp>
      <p:sp>
        <p:nvSpPr>
          <p:cNvPr id="173061" name="Rectangle 5"/>
          <p:cNvSpPr>
            <a:spLocks noGrp="1" noChangeArrowheads="1"/>
          </p:cNvSpPr>
          <p:nvPr>
            <p:ph type="sldNum" sz="quarter" idx="3"/>
          </p:nvPr>
        </p:nvSpPr>
        <p:spPr bwMode="auto">
          <a:xfrm>
            <a:off x="3686129" y="9390812"/>
            <a:ext cx="3111547" cy="53582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algn="r" defTabSz="887057">
              <a:spcBef>
                <a:spcPct val="0"/>
              </a:spcBef>
              <a:defRPr sz="1100">
                <a:solidFill>
                  <a:schemeClr val="tx1"/>
                </a:solidFill>
                <a:latin typeface="Siemens Sans" pitchFamily="2" charset="0"/>
              </a:defRPr>
            </a:lvl1pPr>
          </a:lstStyle>
          <a:p>
            <a:r>
              <a:rPr lang="de-DE">
                <a:latin typeface="Arial" pitchFamily="34" charset="0"/>
              </a:rPr>
              <a:t>Handzettel </a:t>
            </a:r>
            <a:fld id="{BFC713D8-7968-482B-A79F-9C586FE5053A}" type="slidenum">
              <a:rPr lang="de-DE">
                <a:latin typeface="Arial" pitchFamily="34" charset="0"/>
              </a:rPr>
              <a:pPr/>
              <a:t>‹Nr.›</a:t>
            </a:fld>
            <a:endParaRPr lang="de-DE">
              <a:latin typeface="Arial" pitchFamily="34" charset="0"/>
            </a:endParaRPr>
          </a:p>
        </p:txBody>
      </p:sp>
    </p:spTree>
    <p:extLst>
      <p:ext uri="{BB962C8B-B14F-4D97-AF65-F5344CB8AC3E}">
        <p14:creationId xmlns:p14="http://schemas.microsoft.com/office/powerpoint/2010/main" val="23718505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 y="1"/>
            <a:ext cx="3111548"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defTabSz="887057">
              <a:spcBef>
                <a:spcPct val="0"/>
              </a:spcBef>
              <a:defRPr sz="1100">
                <a:solidFill>
                  <a:schemeClr val="tx1"/>
                </a:solidFill>
                <a:latin typeface="Arial" pitchFamily="34" charset="0"/>
              </a:defRPr>
            </a:lvl1pPr>
          </a:lstStyle>
          <a:p>
            <a:endParaRPr lang="en-US"/>
          </a:p>
        </p:txBody>
      </p:sp>
      <p:sp>
        <p:nvSpPr>
          <p:cNvPr id="77827" name="Rectangle 3"/>
          <p:cNvSpPr>
            <a:spLocks noGrp="1" noChangeArrowheads="1"/>
          </p:cNvSpPr>
          <p:nvPr>
            <p:ph type="dt" idx="1"/>
          </p:nvPr>
        </p:nvSpPr>
        <p:spPr bwMode="auto">
          <a:xfrm>
            <a:off x="3686128" y="1"/>
            <a:ext cx="3110027" cy="535826"/>
          </a:xfrm>
          <a:prstGeom prst="rect">
            <a:avLst/>
          </a:prstGeom>
          <a:noFill/>
          <a:ln w="9525">
            <a:noFill/>
            <a:miter lim="800000"/>
            <a:headEnd/>
            <a:tailEnd/>
          </a:ln>
          <a:effectLst/>
        </p:spPr>
        <p:txBody>
          <a:bodyPr vert="horz" wrap="square" lIns="139741" tIns="139741" rIns="139741" bIns="139741" numCol="1" anchor="t" anchorCtr="0" compatLnSpc="1">
            <a:prstTxWarp prst="textNoShape">
              <a:avLst/>
            </a:prstTxWarp>
          </a:bodyPr>
          <a:lstStyle>
            <a:lvl1pPr algn="r" defTabSz="887057">
              <a:spcBef>
                <a:spcPct val="0"/>
              </a:spcBef>
              <a:defRPr sz="1100">
                <a:solidFill>
                  <a:schemeClr val="tx1"/>
                </a:solidFill>
                <a:latin typeface="Arial" pitchFamily="34" charset="0"/>
              </a:defRPr>
            </a:lvl1pPr>
          </a:lstStyle>
          <a:p>
            <a:endParaRPr lang="en-US"/>
          </a:p>
        </p:txBody>
      </p:sp>
      <p:sp>
        <p:nvSpPr>
          <p:cNvPr id="77828" name="Rectangle 4"/>
          <p:cNvSpPr>
            <a:spLocks noGrp="1" noRot="1" noChangeAspect="1" noChangeArrowheads="1" noTextEdit="1"/>
          </p:cNvSpPr>
          <p:nvPr>
            <p:ph type="sldImg" idx="2"/>
          </p:nvPr>
        </p:nvSpPr>
        <p:spPr bwMode="auto">
          <a:xfrm>
            <a:off x="92075" y="746125"/>
            <a:ext cx="6615113" cy="37211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8008" y="4677699"/>
            <a:ext cx="6341659" cy="44282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7830" name="Rectangle 6"/>
          <p:cNvSpPr>
            <a:spLocks noGrp="1" noChangeArrowheads="1"/>
          </p:cNvSpPr>
          <p:nvPr>
            <p:ph type="ftr" sz="quarter" idx="4"/>
          </p:nvPr>
        </p:nvSpPr>
        <p:spPr bwMode="auto">
          <a:xfrm>
            <a:off x="1" y="9390811"/>
            <a:ext cx="3111548" cy="53428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defTabSz="887057">
              <a:spcBef>
                <a:spcPct val="0"/>
              </a:spcBef>
              <a:defRPr sz="1100">
                <a:solidFill>
                  <a:schemeClr val="tx1"/>
                </a:solidFill>
                <a:latin typeface="Arial" pitchFamily="34" charset="0"/>
              </a:defRPr>
            </a:lvl1pPr>
          </a:lstStyle>
          <a:p>
            <a:endParaRPr lang="en-US"/>
          </a:p>
        </p:txBody>
      </p:sp>
      <p:sp>
        <p:nvSpPr>
          <p:cNvPr id="77831" name="Rectangle 7"/>
          <p:cNvSpPr>
            <a:spLocks noGrp="1" noChangeArrowheads="1"/>
          </p:cNvSpPr>
          <p:nvPr>
            <p:ph type="sldNum" sz="quarter" idx="5"/>
          </p:nvPr>
        </p:nvSpPr>
        <p:spPr bwMode="auto">
          <a:xfrm>
            <a:off x="3686128" y="9390811"/>
            <a:ext cx="3110027" cy="534286"/>
          </a:xfrm>
          <a:prstGeom prst="rect">
            <a:avLst/>
          </a:prstGeom>
          <a:noFill/>
          <a:ln w="9525">
            <a:noFill/>
            <a:miter lim="800000"/>
            <a:headEnd/>
            <a:tailEnd/>
          </a:ln>
          <a:effectLst/>
        </p:spPr>
        <p:txBody>
          <a:bodyPr vert="horz" wrap="square" lIns="139741" tIns="139741" rIns="139741" bIns="139741" numCol="1" anchor="b" anchorCtr="0" compatLnSpc="1">
            <a:prstTxWarp prst="textNoShape">
              <a:avLst/>
            </a:prstTxWarp>
          </a:bodyPr>
          <a:lstStyle>
            <a:lvl1pPr algn="r" defTabSz="887057">
              <a:spcBef>
                <a:spcPct val="0"/>
              </a:spcBef>
              <a:defRPr sz="1100">
                <a:solidFill>
                  <a:schemeClr val="tx1"/>
                </a:solidFill>
                <a:latin typeface="Siemens Sans" pitchFamily="2" charset="0"/>
              </a:defRPr>
            </a:lvl1pPr>
          </a:lstStyle>
          <a:p>
            <a:r>
              <a:rPr lang="de-DE">
                <a:latin typeface="Arial" pitchFamily="34" charset="0"/>
              </a:rPr>
              <a:t>Notizen </a:t>
            </a:r>
            <a:fld id="{AD141568-5488-4AC9-B82D-9F5CE1225E2A}" type="slidenum">
              <a:rPr lang="de-DE" smtClean="0">
                <a:latin typeface="Arial" pitchFamily="34" charset="0"/>
              </a:rPr>
              <a:pPr/>
              <a:t>‹Nr.›</a:t>
            </a:fld>
            <a:endParaRPr lang="de-DE">
              <a:latin typeface="Arial" pitchFamily="34" charset="0"/>
            </a:endParaRPr>
          </a:p>
        </p:txBody>
      </p:sp>
    </p:spTree>
    <p:extLst>
      <p:ext uri="{BB962C8B-B14F-4D97-AF65-F5344CB8AC3E}">
        <p14:creationId xmlns:p14="http://schemas.microsoft.com/office/powerpoint/2010/main" val="383421924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2000" kern="1400">
              <a:solidFill>
                <a:schemeClr val="tx1"/>
              </a:solidFill>
              <a:latin typeface="Arial" pitchFamily="34" charset="0"/>
              <a:ea typeface="ＭＳ Ｐゴシック" charset="-128"/>
              <a:cs typeface="+mn-cs"/>
            </a:endParaRPr>
          </a:p>
        </p:txBody>
      </p:sp>
      <p:sp>
        <p:nvSpPr>
          <p:cNvPr id="4" name="Slide Number Placeholder 3"/>
          <p:cNvSpPr>
            <a:spLocks noGrp="1"/>
          </p:cNvSpPr>
          <p:nvPr>
            <p:ph type="sldNum" sz="quarter" idx="5"/>
          </p:nvPr>
        </p:nvSpPr>
        <p:spPr/>
        <p:txBody>
          <a:bodyPr/>
          <a:lstStyle/>
          <a:p>
            <a:r>
              <a:rPr lang="de-DE">
                <a:latin typeface="Arial" pitchFamily="34" charset="0"/>
              </a:rPr>
              <a:t>Notizen </a:t>
            </a:r>
            <a:fld id="{AD141568-5488-4AC9-B82D-9F5CE1225E2A}" type="slidenum">
              <a:rPr lang="de-DE" smtClean="0">
                <a:latin typeface="Arial" pitchFamily="34" charset="0"/>
              </a:rPr>
              <a:pPr/>
              <a:t>1</a:t>
            </a:fld>
            <a:endParaRPr lang="de-DE">
              <a:latin typeface="Arial" pitchFamily="34" charset="0"/>
            </a:endParaRPr>
          </a:p>
        </p:txBody>
      </p:sp>
    </p:spTree>
    <p:extLst>
      <p:ext uri="{BB962C8B-B14F-4D97-AF65-F5344CB8AC3E}">
        <p14:creationId xmlns:p14="http://schemas.microsoft.com/office/powerpoint/2010/main" val="1475848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FAFDEC3D-A11C-44B4-BB54-4354129975F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FF4F46E1-259D-40A0-B85B-6D5503812C12}" type="slidenum">
              <a:rPr lang="de-DE" altLang="de-DE" sz="1200">
                <a:latin typeface="Siemens Sans" pitchFamily="2" charset="0"/>
              </a:rPr>
              <a:pPr eaLnBrk="1" hangingPunct="1"/>
              <a:t>2</a:t>
            </a:fld>
            <a:endParaRPr lang="de-DE" altLang="de-DE" sz="1200">
              <a:latin typeface="Siemens Sans" pitchFamily="2" charset="0"/>
            </a:endParaRPr>
          </a:p>
        </p:txBody>
      </p:sp>
      <p:sp>
        <p:nvSpPr>
          <p:cNvPr id="21507" name="Rectangle 2">
            <a:extLst>
              <a:ext uri="{FF2B5EF4-FFF2-40B4-BE49-F238E27FC236}">
                <a16:creationId xmlns:a16="http://schemas.microsoft.com/office/drawing/2014/main" id="{1D5CF9D6-D646-4D74-A068-5EFF89A74640}"/>
              </a:ext>
            </a:extLst>
          </p:cNvPr>
          <p:cNvSpPr>
            <a:spLocks noGrp="1" noRot="1" noChangeAspect="1" noChangeArrowheads="1" noTextEdit="1"/>
          </p:cNvSpPr>
          <p:nvPr>
            <p:ph type="sldImg"/>
          </p:nvPr>
        </p:nvSpPr>
        <p:spPr>
          <a:xfrm>
            <a:off x="-95250" y="641350"/>
            <a:ext cx="6961188" cy="3916363"/>
          </a:xfrm>
          <a:ln/>
        </p:spPr>
      </p:sp>
      <p:sp>
        <p:nvSpPr>
          <p:cNvPr id="21508" name="Rectangle 3">
            <a:extLst>
              <a:ext uri="{FF2B5EF4-FFF2-40B4-BE49-F238E27FC236}">
                <a16:creationId xmlns:a16="http://schemas.microsoft.com/office/drawing/2014/main" id="{82337477-AE58-49C0-9D84-0F336FE942E4}"/>
              </a:ext>
            </a:extLst>
          </p:cNvPr>
          <p:cNvSpPr>
            <a:spLocks noGrp="1" noChangeArrowheads="1"/>
          </p:cNvSpPr>
          <p:nvPr>
            <p:ph type="body" idx="1"/>
          </p:nvPr>
        </p:nvSpPr>
        <p:spPr>
          <a:xfrm>
            <a:off x="677863" y="4705350"/>
            <a:ext cx="5413375" cy="4457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p>
        </p:txBody>
      </p:sp>
    </p:spTree>
    <p:extLst>
      <p:ext uri="{BB962C8B-B14F-4D97-AF65-F5344CB8AC3E}">
        <p14:creationId xmlns:p14="http://schemas.microsoft.com/office/powerpoint/2010/main" val="291634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5"/>
          </p:nvPr>
        </p:nvSpPr>
        <p:spPr/>
        <p:txBody>
          <a:bodyPr/>
          <a:lstStyle/>
          <a:p>
            <a:fld id="{576B1C86-F84E-49C8-8BEB-FDDD6462B575}" type="slidenum">
              <a:rPr lang="pl-PL" smtClean="0"/>
              <a:t>3</a:t>
            </a:fld>
            <a:endParaRPr lang="pl-PL"/>
          </a:p>
        </p:txBody>
      </p:sp>
    </p:spTree>
    <p:extLst>
      <p:ext uri="{BB962C8B-B14F-4D97-AF65-F5344CB8AC3E}">
        <p14:creationId xmlns:p14="http://schemas.microsoft.com/office/powerpoint/2010/main" val="335351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FAFDEC3D-A11C-44B4-BB54-4354129975F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FF4F46E1-259D-40A0-B85B-6D5503812C12}" type="slidenum">
              <a:rPr lang="de-DE" altLang="de-DE" sz="1200">
                <a:latin typeface="Siemens Sans" pitchFamily="2" charset="0"/>
              </a:rPr>
              <a:pPr eaLnBrk="1" hangingPunct="1"/>
              <a:t>6</a:t>
            </a:fld>
            <a:endParaRPr lang="de-DE" altLang="de-DE" sz="1200">
              <a:latin typeface="Siemens Sans" pitchFamily="2" charset="0"/>
            </a:endParaRPr>
          </a:p>
        </p:txBody>
      </p:sp>
      <p:sp>
        <p:nvSpPr>
          <p:cNvPr id="21507" name="Rectangle 2">
            <a:extLst>
              <a:ext uri="{FF2B5EF4-FFF2-40B4-BE49-F238E27FC236}">
                <a16:creationId xmlns:a16="http://schemas.microsoft.com/office/drawing/2014/main" id="{1D5CF9D6-D646-4D74-A068-5EFF89A74640}"/>
              </a:ext>
            </a:extLst>
          </p:cNvPr>
          <p:cNvSpPr>
            <a:spLocks noGrp="1" noRot="1" noChangeAspect="1" noChangeArrowheads="1" noTextEdit="1"/>
          </p:cNvSpPr>
          <p:nvPr>
            <p:ph type="sldImg"/>
          </p:nvPr>
        </p:nvSpPr>
        <p:spPr>
          <a:xfrm>
            <a:off x="-95250" y="641350"/>
            <a:ext cx="6961188" cy="3916363"/>
          </a:xfrm>
          <a:ln/>
        </p:spPr>
      </p:sp>
      <p:sp>
        <p:nvSpPr>
          <p:cNvPr id="21508" name="Rectangle 3">
            <a:extLst>
              <a:ext uri="{FF2B5EF4-FFF2-40B4-BE49-F238E27FC236}">
                <a16:creationId xmlns:a16="http://schemas.microsoft.com/office/drawing/2014/main" id="{82337477-AE58-49C0-9D84-0F336FE942E4}"/>
              </a:ext>
            </a:extLst>
          </p:cNvPr>
          <p:cNvSpPr>
            <a:spLocks noGrp="1" noChangeArrowheads="1"/>
          </p:cNvSpPr>
          <p:nvPr>
            <p:ph type="body" idx="1"/>
          </p:nvPr>
        </p:nvSpPr>
        <p:spPr>
          <a:xfrm>
            <a:off x="677863" y="4705350"/>
            <a:ext cx="5413375" cy="4457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a:p>
        </p:txBody>
      </p:sp>
    </p:spTree>
    <p:extLst>
      <p:ext uri="{BB962C8B-B14F-4D97-AF65-F5344CB8AC3E}">
        <p14:creationId xmlns:p14="http://schemas.microsoft.com/office/powerpoint/2010/main" val="4268824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FAFDEC3D-A11C-44B4-BB54-4354129975F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FF4F46E1-259D-40A0-B85B-6D5503812C12}" type="slidenum">
              <a:rPr lang="de-DE" altLang="de-DE" sz="1200">
                <a:latin typeface="Siemens Sans" pitchFamily="2" charset="0"/>
              </a:rPr>
              <a:pPr eaLnBrk="1" hangingPunct="1"/>
              <a:t>7</a:t>
            </a:fld>
            <a:endParaRPr lang="de-DE" altLang="de-DE" sz="1200">
              <a:latin typeface="Siemens Sans" pitchFamily="2" charset="0"/>
            </a:endParaRPr>
          </a:p>
        </p:txBody>
      </p:sp>
      <p:sp>
        <p:nvSpPr>
          <p:cNvPr id="21507" name="Rectangle 2">
            <a:extLst>
              <a:ext uri="{FF2B5EF4-FFF2-40B4-BE49-F238E27FC236}">
                <a16:creationId xmlns:a16="http://schemas.microsoft.com/office/drawing/2014/main" id="{1D5CF9D6-D646-4D74-A068-5EFF89A74640}"/>
              </a:ext>
            </a:extLst>
          </p:cNvPr>
          <p:cNvSpPr>
            <a:spLocks noGrp="1" noRot="1" noChangeAspect="1" noChangeArrowheads="1" noTextEdit="1"/>
          </p:cNvSpPr>
          <p:nvPr>
            <p:ph type="sldImg"/>
          </p:nvPr>
        </p:nvSpPr>
        <p:spPr>
          <a:xfrm>
            <a:off x="-95250" y="641350"/>
            <a:ext cx="6961188" cy="3916363"/>
          </a:xfrm>
          <a:ln/>
        </p:spPr>
      </p:sp>
      <p:sp>
        <p:nvSpPr>
          <p:cNvPr id="21508" name="Rectangle 3">
            <a:extLst>
              <a:ext uri="{FF2B5EF4-FFF2-40B4-BE49-F238E27FC236}">
                <a16:creationId xmlns:a16="http://schemas.microsoft.com/office/drawing/2014/main" id="{82337477-AE58-49C0-9D84-0F336FE942E4}"/>
              </a:ext>
            </a:extLst>
          </p:cNvPr>
          <p:cNvSpPr>
            <a:spLocks noGrp="1" noChangeArrowheads="1"/>
          </p:cNvSpPr>
          <p:nvPr>
            <p:ph type="body" idx="1"/>
          </p:nvPr>
        </p:nvSpPr>
        <p:spPr>
          <a:xfrm>
            <a:off x="677863" y="4705350"/>
            <a:ext cx="5413375" cy="4457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a:p>
        </p:txBody>
      </p:sp>
    </p:spTree>
    <p:extLst>
      <p:ext uri="{BB962C8B-B14F-4D97-AF65-F5344CB8AC3E}">
        <p14:creationId xmlns:p14="http://schemas.microsoft.com/office/powerpoint/2010/main" val="2988192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FAFDEC3D-A11C-44B4-BB54-4354129975F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FF4F46E1-259D-40A0-B85B-6D5503812C12}" type="slidenum">
              <a:rPr lang="de-DE" altLang="de-DE" sz="1200">
                <a:latin typeface="Siemens Sans" pitchFamily="2" charset="0"/>
              </a:rPr>
              <a:pPr eaLnBrk="1" hangingPunct="1"/>
              <a:t>8</a:t>
            </a:fld>
            <a:endParaRPr lang="de-DE" altLang="de-DE" sz="1200">
              <a:latin typeface="Siemens Sans" pitchFamily="2" charset="0"/>
            </a:endParaRPr>
          </a:p>
        </p:txBody>
      </p:sp>
      <p:sp>
        <p:nvSpPr>
          <p:cNvPr id="21507" name="Rectangle 2">
            <a:extLst>
              <a:ext uri="{FF2B5EF4-FFF2-40B4-BE49-F238E27FC236}">
                <a16:creationId xmlns:a16="http://schemas.microsoft.com/office/drawing/2014/main" id="{1D5CF9D6-D646-4D74-A068-5EFF89A74640}"/>
              </a:ext>
            </a:extLst>
          </p:cNvPr>
          <p:cNvSpPr>
            <a:spLocks noGrp="1" noRot="1" noChangeAspect="1" noChangeArrowheads="1" noTextEdit="1"/>
          </p:cNvSpPr>
          <p:nvPr>
            <p:ph type="sldImg"/>
          </p:nvPr>
        </p:nvSpPr>
        <p:spPr>
          <a:xfrm>
            <a:off x="-95250" y="641350"/>
            <a:ext cx="6961188" cy="3916363"/>
          </a:xfrm>
          <a:ln/>
        </p:spPr>
      </p:sp>
      <p:sp>
        <p:nvSpPr>
          <p:cNvPr id="21508" name="Rectangle 3">
            <a:extLst>
              <a:ext uri="{FF2B5EF4-FFF2-40B4-BE49-F238E27FC236}">
                <a16:creationId xmlns:a16="http://schemas.microsoft.com/office/drawing/2014/main" id="{82337477-AE58-49C0-9D84-0F336FE942E4}"/>
              </a:ext>
            </a:extLst>
          </p:cNvPr>
          <p:cNvSpPr>
            <a:spLocks noGrp="1" noChangeArrowheads="1"/>
          </p:cNvSpPr>
          <p:nvPr>
            <p:ph type="body" idx="1"/>
          </p:nvPr>
        </p:nvSpPr>
        <p:spPr>
          <a:xfrm>
            <a:off x="677863" y="4705350"/>
            <a:ext cx="5413375" cy="4457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a:p>
        </p:txBody>
      </p:sp>
    </p:spTree>
    <p:extLst>
      <p:ext uri="{BB962C8B-B14F-4D97-AF65-F5344CB8AC3E}">
        <p14:creationId xmlns:p14="http://schemas.microsoft.com/office/powerpoint/2010/main" val="31326137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a:extLst>
              <a:ext uri="{FF2B5EF4-FFF2-40B4-BE49-F238E27FC236}">
                <a16:creationId xmlns:a16="http://schemas.microsoft.com/office/drawing/2014/main" id="{FAFDEC3D-A11C-44B4-BB54-4354129975F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fld id="{FF4F46E1-259D-40A0-B85B-6D5503812C12}" type="slidenum">
              <a:rPr lang="de-DE" altLang="de-DE" sz="1200">
                <a:latin typeface="Siemens Sans" pitchFamily="2" charset="0"/>
              </a:rPr>
              <a:pPr eaLnBrk="1" hangingPunct="1"/>
              <a:t>9</a:t>
            </a:fld>
            <a:endParaRPr lang="de-DE" altLang="de-DE" sz="1200">
              <a:latin typeface="Siemens Sans" pitchFamily="2" charset="0"/>
            </a:endParaRPr>
          </a:p>
        </p:txBody>
      </p:sp>
      <p:sp>
        <p:nvSpPr>
          <p:cNvPr id="21507" name="Rectangle 2">
            <a:extLst>
              <a:ext uri="{FF2B5EF4-FFF2-40B4-BE49-F238E27FC236}">
                <a16:creationId xmlns:a16="http://schemas.microsoft.com/office/drawing/2014/main" id="{1D5CF9D6-D646-4D74-A068-5EFF89A74640}"/>
              </a:ext>
            </a:extLst>
          </p:cNvPr>
          <p:cNvSpPr>
            <a:spLocks noGrp="1" noRot="1" noChangeAspect="1" noChangeArrowheads="1" noTextEdit="1"/>
          </p:cNvSpPr>
          <p:nvPr>
            <p:ph type="sldImg"/>
          </p:nvPr>
        </p:nvSpPr>
        <p:spPr>
          <a:xfrm>
            <a:off x="-95250" y="641350"/>
            <a:ext cx="6961188" cy="3916363"/>
          </a:xfrm>
          <a:ln/>
        </p:spPr>
      </p:sp>
      <p:sp>
        <p:nvSpPr>
          <p:cNvPr id="21508" name="Rectangle 3">
            <a:extLst>
              <a:ext uri="{FF2B5EF4-FFF2-40B4-BE49-F238E27FC236}">
                <a16:creationId xmlns:a16="http://schemas.microsoft.com/office/drawing/2014/main" id="{82337477-AE58-49C0-9D84-0F336FE942E4}"/>
              </a:ext>
            </a:extLst>
          </p:cNvPr>
          <p:cNvSpPr>
            <a:spLocks noGrp="1" noChangeArrowheads="1"/>
          </p:cNvSpPr>
          <p:nvPr>
            <p:ph type="body" idx="1"/>
          </p:nvPr>
        </p:nvSpPr>
        <p:spPr>
          <a:xfrm>
            <a:off x="677863" y="4705350"/>
            <a:ext cx="5413375" cy="4457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a:p>
        </p:txBody>
      </p:sp>
    </p:spTree>
    <p:extLst>
      <p:ext uri="{BB962C8B-B14F-4D97-AF65-F5344CB8AC3E}">
        <p14:creationId xmlns:p14="http://schemas.microsoft.com/office/powerpoint/2010/main" val="5023212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068C470-7290-4F7D-AE34-FF85E39AC41D}"/>
              </a:ext>
            </a:extLst>
          </p:cNvPr>
          <p:cNvCxnSpPr/>
          <p:nvPr userDrawn="1"/>
        </p:nvCxnSpPr>
        <p:spPr bwMode="auto">
          <a:xfrm>
            <a:off x="12195175" y="-1296525"/>
            <a:ext cx="0" cy="945105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1"/>
    </p:custDataLst>
    <p:extLst>
      <p:ext uri="{BB962C8B-B14F-4D97-AF65-F5344CB8AC3E}">
        <p14:creationId xmlns:p14="http://schemas.microsoft.com/office/powerpoint/2010/main" val="33709844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a:t>  </a:t>
            </a:r>
          </a:p>
        </p:txBody>
      </p:sp>
      <p:sp>
        <p:nvSpPr>
          <p:cNvPr id="3" name="cdtContent Placeholder 2 Id3"/>
          <p:cNvSpPr>
            <a:spLocks noGrp="1"/>
          </p:cNvSpPr>
          <p:nvPr>
            <p:ph sz="half" idx="1" hasCustomPrompt="1"/>
            <p:custDataLst>
              <p:tags r:id="rId2"/>
            </p:custDataLst>
          </p:nvPr>
        </p:nvSpPr>
        <p:spPr>
          <a:xfrm>
            <a:off x="2425220" y="1199198"/>
            <a:ext cx="5470688"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126"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34" marR="0" indent="-179946" algn="l" defTabSz="914126" rtl="0" eaLnBrk="1" fontAlgn="base" latinLnBrk="0" hangingPunct="1">
              <a:lnSpc>
                <a:spcPct val="100000"/>
              </a:lnSpc>
              <a:spcBef>
                <a:spcPts val="300"/>
              </a:spcBef>
              <a:spcAft>
                <a:spcPct val="0"/>
              </a:spcAft>
              <a:buClr>
                <a:srgbClr val="879BAA"/>
              </a:buClr>
              <a:buSzTx/>
              <a:buFontTx/>
              <a:buChar char="•"/>
              <a:tabLst/>
              <a:defRPr lang="de-DE" smtClean="0"/>
            </a:lvl2pPr>
            <a:lvl3pPr marL="358667" marR="0" indent="-179946" algn="l" defTabSz="914126" rtl="0" eaLnBrk="1" fontAlgn="base" latinLnBrk="0" hangingPunct="1">
              <a:lnSpc>
                <a:spcPct val="100000"/>
              </a:lnSpc>
              <a:spcBef>
                <a:spcPts val="300"/>
              </a:spcBef>
              <a:spcAft>
                <a:spcPct val="0"/>
              </a:spcAft>
              <a:buClr>
                <a:srgbClr val="879BAA"/>
              </a:buClr>
              <a:buSzTx/>
              <a:buFontTx/>
              <a:buChar char="•"/>
              <a:tabLst/>
              <a:defRPr lang="de-DE" smtClean="0"/>
            </a:lvl3pPr>
            <a:lvl4pPr marL="538002" marR="0" indent="-179946" algn="l" defTabSz="914126" rtl="0" eaLnBrk="1" fontAlgn="base" latinLnBrk="0" hangingPunct="1">
              <a:lnSpc>
                <a:spcPct val="100000"/>
              </a:lnSpc>
              <a:spcBef>
                <a:spcPts val="300"/>
              </a:spcBef>
              <a:spcAft>
                <a:spcPct val="0"/>
              </a:spcAft>
              <a:buClr>
                <a:srgbClr val="879BAA"/>
              </a:buClr>
              <a:buSzTx/>
              <a:buFontTx/>
              <a:buChar char="•"/>
              <a:tabLst/>
              <a:defRPr lang="de-DE" smtClean="0"/>
            </a:lvl4pPr>
            <a:lvl5pPr marL="719784" marR="0" indent="-179946" algn="l" defTabSz="914126" rtl="0" eaLnBrk="1" fontAlgn="base" latinLnBrk="0" hangingPunct="1">
              <a:lnSpc>
                <a:spcPct val="100000"/>
              </a:lnSpc>
              <a:spcBef>
                <a:spcPts val="300"/>
              </a:spcBef>
              <a:spcAft>
                <a:spcPct val="0"/>
              </a:spcAft>
              <a:buClr>
                <a:srgbClr val="879BAA"/>
              </a:buClr>
              <a:buSzTx/>
              <a:buFontTx/>
              <a:buChar char="•"/>
              <a:tabLst/>
              <a:defRPr lang="de-DE"/>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Bildplatzhalter 4"/>
          <p:cNvSpPr>
            <a:spLocks noGrp="1"/>
          </p:cNvSpPr>
          <p:nvPr>
            <p:ph type="pic" sz="quarter" idx="10"/>
          </p:nvPr>
        </p:nvSpPr>
        <p:spPr>
          <a:xfrm>
            <a:off x="6242012" y="1440000"/>
            <a:ext cx="5470576" cy="2304000"/>
          </a:xfrm>
        </p:spPr>
        <p:txBody>
          <a:bodyPr tIns="648000"/>
          <a:lstStyle>
            <a:lvl1pPr algn="ctr">
              <a:defRPr/>
            </a:lvl1pPr>
          </a:lstStyle>
          <a:p>
            <a:r>
              <a:rPr lang="en-US" noProof="0"/>
              <a:t>Click icon to add picture</a:t>
            </a:r>
          </a:p>
        </p:txBody>
      </p:sp>
      <p:sp>
        <p:nvSpPr>
          <p:cNvPr id="6" name="Bildplatzhalter 4"/>
          <p:cNvSpPr>
            <a:spLocks noGrp="1"/>
          </p:cNvSpPr>
          <p:nvPr>
            <p:ph type="pic" sz="quarter" idx="11"/>
          </p:nvPr>
        </p:nvSpPr>
        <p:spPr>
          <a:xfrm>
            <a:off x="6242012" y="3888000"/>
            <a:ext cx="5470576" cy="2304000"/>
          </a:xfrm>
        </p:spPr>
        <p:txBody>
          <a:bodyPr tIns="648000"/>
          <a:lstStyle>
            <a:lvl1pPr algn="ctr">
              <a:defRPr/>
            </a:lvl1pPr>
          </a:lstStyle>
          <a:p>
            <a:r>
              <a:rPr lang="en-US" noProof="0"/>
              <a:t>Click icon to add picture</a:t>
            </a:r>
          </a:p>
        </p:txBody>
      </p:sp>
    </p:spTree>
    <p:custDataLst>
      <p:tags r:id="rId1"/>
    </p:custDataLst>
    <p:extLst>
      <p:ext uri="{BB962C8B-B14F-4D97-AF65-F5344CB8AC3E}">
        <p14:creationId xmlns:p14="http://schemas.microsoft.com/office/powerpoint/2010/main" val="22514975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Text und Inhalt">
    <p:spTree>
      <p:nvGrpSpPr>
        <p:cNvPr id="1" name=""/>
        <p:cNvGrpSpPr/>
        <p:nvPr/>
      </p:nvGrpSpPr>
      <p:grpSpPr>
        <a:xfrm>
          <a:off x="0" y="0"/>
          <a:ext cx="0" cy="0"/>
          <a:chOff x="0" y="0"/>
          <a:chExt cx="0" cy="0"/>
        </a:xfrm>
      </p:grpSpPr>
      <p:sp>
        <p:nvSpPr>
          <p:cNvPr id="3" name="Textplatzhalter 2"/>
          <p:cNvSpPr>
            <a:spLocks noGrp="1"/>
          </p:cNvSpPr>
          <p:nvPr>
            <p:ph type="body" sz="half" idx="1"/>
          </p:nvPr>
        </p:nvSpPr>
        <p:spPr>
          <a:xfrm>
            <a:off x="2685163" y="866775"/>
            <a:ext cx="5380340" cy="4681538"/>
          </a:xfrm>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67014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object (small)" userDrawn="1">
  <p:cSld name="One object (small)">
    <p:spTree>
      <p:nvGrpSpPr>
        <p:cNvPr id="1" name=""/>
        <p:cNvGrpSpPr/>
        <p:nvPr/>
      </p:nvGrpSpPr>
      <p:grpSpPr>
        <a:xfrm>
          <a:off x="0" y="0"/>
          <a:ext cx="0" cy="0"/>
          <a:chOff x="0" y="0"/>
          <a:chExt cx="0" cy="0"/>
        </a:xfrm>
      </p:grpSpPr>
      <p:sp>
        <p:nvSpPr>
          <p:cNvPr id="3" name="cdtContent Placeholder 2 Id3"/>
          <p:cNvSpPr>
            <a:spLocks noGrp="1"/>
          </p:cNvSpPr>
          <p:nvPr>
            <p:ph idx="1"/>
            <p:custDataLst>
              <p:tags r:id="rId1"/>
            </p:custDataLst>
          </p:nvPr>
        </p:nvSpPr>
        <p:spPr>
          <a:xfrm>
            <a:off x="3415820" y="1229678"/>
            <a:ext cx="6766238" cy="4748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57075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ytuł i zawartość">
    <p:spTree>
      <p:nvGrpSpPr>
        <p:cNvPr id="1" name=""/>
        <p:cNvGrpSpPr/>
        <p:nvPr/>
      </p:nvGrpSpPr>
      <p:grpSpPr>
        <a:xfrm>
          <a:off x="0" y="0"/>
          <a:ext cx="0" cy="0"/>
          <a:chOff x="0" y="0"/>
          <a:chExt cx="0" cy="0"/>
        </a:xfrm>
      </p:grpSpPr>
      <p:sp>
        <p:nvSpPr>
          <p:cNvPr id="2" name="Tytuł 1">
            <a:extLst>
              <a:ext uri="{FF2B5EF4-FFF2-40B4-BE49-F238E27FC236}">
                <a16:creationId xmlns:a16="http://schemas.microsoft.com/office/drawing/2014/main" id="{F80BFD99-7287-4D9B-8CF9-7B11AFFE58DF}"/>
              </a:ext>
            </a:extLst>
          </p:cNvPr>
          <p:cNvSpPr>
            <a:spLocks noGrp="1"/>
          </p:cNvSpPr>
          <p:nvPr>
            <p:ph type="title"/>
          </p:nvPr>
        </p:nvSpPr>
        <p:spPr/>
        <p:txBody>
          <a:bodyPr/>
          <a:lstStyle/>
          <a:p>
            <a:r>
              <a:rPr lang="pl-PL"/>
              <a:t>Kliknij, aby edytować styl</a:t>
            </a:r>
          </a:p>
        </p:txBody>
      </p:sp>
      <p:sp>
        <p:nvSpPr>
          <p:cNvPr id="3" name="Symbol zastępczy zawartości 2">
            <a:extLst>
              <a:ext uri="{FF2B5EF4-FFF2-40B4-BE49-F238E27FC236}">
                <a16:creationId xmlns:a16="http://schemas.microsoft.com/office/drawing/2014/main" id="{BB815DAF-54E8-458A-A166-88DA87DAEC77}"/>
              </a:ext>
            </a:extLst>
          </p:cNvPr>
          <p:cNvSpPr>
            <a:spLocks noGrp="1"/>
          </p:cNvSpPr>
          <p:nvPr>
            <p:ph idx="1"/>
          </p:nvPr>
        </p:nvSpPr>
        <p:spPr/>
        <p:txBody>
          <a:body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daty 3">
            <a:extLst>
              <a:ext uri="{FF2B5EF4-FFF2-40B4-BE49-F238E27FC236}">
                <a16:creationId xmlns:a16="http://schemas.microsoft.com/office/drawing/2014/main" id="{7F31CF98-2388-4A90-BD95-1CBC3EB4166A}"/>
              </a:ext>
            </a:extLst>
          </p:cNvPr>
          <p:cNvSpPr>
            <a:spLocks noGrp="1"/>
          </p:cNvSpPr>
          <p:nvPr>
            <p:ph type="dt" sz="half" idx="10"/>
          </p:nvPr>
        </p:nvSpPr>
        <p:spPr/>
        <p:txBody>
          <a:bodyPr/>
          <a:lstStyle/>
          <a:p>
            <a:fld id="{5AADA184-1288-4669-8743-7728C18BD061}" type="datetimeFigureOut">
              <a:rPr lang="pl-PL" smtClean="0"/>
              <a:t>25.11.2021</a:t>
            </a:fld>
            <a:endParaRPr lang="pl-PL"/>
          </a:p>
        </p:txBody>
      </p:sp>
      <p:sp>
        <p:nvSpPr>
          <p:cNvPr id="5" name="Symbol zastępczy stopki 4">
            <a:extLst>
              <a:ext uri="{FF2B5EF4-FFF2-40B4-BE49-F238E27FC236}">
                <a16:creationId xmlns:a16="http://schemas.microsoft.com/office/drawing/2014/main" id="{491FEBF1-EA48-477E-9843-2EDCF8995C66}"/>
              </a:ext>
            </a:extLst>
          </p:cNvPr>
          <p:cNvSpPr>
            <a:spLocks noGrp="1"/>
          </p:cNvSpPr>
          <p:nvPr>
            <p:ph type="ftr" sz="quarter" idx="11"/>
          </p:nvPr>
        </p:nvSpPr>
        <p:spPr/>
        <p:txBody>
          <a:bodyPr/>
          <a:lstStyle/>
          <a:p>
            <a:endParaRPr lang="pl-PL"/>
          </a:p>
        </p:txBody>
      </p:sp>
      <p:sp>
        <p:nvSpPr>
          <p:cNvPr id="6" name="Symbol zastępczy numeru slajdu 5">
            <a:extLst>
              <a:ext uri="{FF2B5EF4-FFF2-40B4-BE49-F238E27FC236}">
                <a16:creationId xmlns:a16="http://schemas.microsoft.com/office/drawing/2014/main" id="{FF7025EA-453B-4013-B32E-470ABC9A3127}"/>
              </a:ext>
            </a:extLst>
          </p:cNvPr>
          <p:cNvSpPr>
            <a:spLocks noGrp="1"/>
          </p:cNvSpPr>
          <p:nvPr>
            <p:ph type="sldNum" sz="quarter" idx="12"/>
          </p:nvPr>
        </p:nvSpPr>
        <p:spPr/>
        <p:txBody>
          <a:bodyPr/>
          <a:lstStyle/>
          <a:p>
            <a:fld id="{95C9E7F5-A593-4D30-857E-A619772366E6}" type="slidenum">
              <a:rPr lang="pl-PL" smtClean="0"/>
              <a:t>‹Nr.›</a:t>
            </a:fld>
            <a:endParaRPr lang="pl-PL"/>
          </a:p>
        </p:txBody>
      </p:sp>
    </p:spTree>
    <p:extLst>
      <p:ext uri="{BB962C8B-B14F-4D97-AF65-F5344CB8AC3E}">
        <p14:creationId xmlns:p14="http://schemas.microsoft.com/office/powerpoint/2010/main" val="210740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4.sv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57" name="Cognisphere" descr="A picture containing fireworks, star, table, sky&#10;&#10;Description automatically generated">
            <a:extLst>
              <a:ext uri="{FF2B5EF4-FFF2-40B4-BE49-F238E27FC236}">
                <a16:creationId xmlns:a16="http://schemas.microsoft.com/office/drawing/2014/main" id="{F35B8140-431B-4564-A814-5FE9C50E80E1}"/>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r="37225"/>
          <a:stretch/>
        </p:blipFill>
        <p:spPr>
          <a:xfrm>
            <a:off x="-1571" y="-1"/>
            <a:ext cx="2162645" cy="1133745"/>
          </a:xfrm>
          <a:prstGeom prst="rect">
            <a:avLst/>
          </a:prstGeom>
          <a:gradFill>
            <a:gsLst>
              <a:gs pos="58000">
                <a:srgbClr val="00315F"/>
              </a:gs>
              <a:gs pos="6000">
                <a:srgbClr val="00022B"/>
              </a:gs>
              <a:gs pos="100000">
                <a:srgbClr val="0080B6"/>
              </a:gs>
            </a:gsLst>
            <a:lin ang="0" scaled="0"/>
          </a:gradFill>
          <a:ln>
            <a:noFill/>
          </a:ln>
          <a:effectLst/>
        </p:spPr>
      </p:pic>
      <p:sp>
        <p:nvSpPr>
          <p:cNvPr id="43" name="Rechteck 25">
            <a:extLst>
              <a:ext uri="{FF2B5EF4-FFF2-40B4-BE49-F238E27FC236}">
                <a16:creationId xmlns:a16="http://schemas.microsoft.com/office/drawing/2014/main" id="{938A2358-3D1F-4D7E-9741-6B2D91AE4A67}"/>
              </a:ext>
            </a:extLst>
          </p:cNvPr>
          <p:cNvSpPr/>
          <p:nvPr userDrawn="1"/>
        </p:nvSpPr>
        <p:spPr bwMode="auto">
          <a:xfrm>
            <a:off x="1074" y="466600"/>
            <a:ext cx="2160000" cy="6391400"/>
          </a:xfrm>
          <a:prstGeom prst="rect">
            <a:avLst/>
          </a:prstGeom>
          <a:solidFill>
            <a:srgbClr val="F3F3F0"/>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latin typeface="Siemens Sans" pitchFamily="2" charset="0"/>
            </a:endParaRPr>
          </a:p>
        </p:txBody>
      </p:sp>
      <p:sp>
        <p:nvSpPr>
          <p:cNvPr id="73" name="cdtText Box 4 Id114692">
            <a:extLst>
              <a:ext uri="{FF2B5EF4-FFF2-40B4-BE49-F238E27FC236}">
                <a16:creationId xmlns:a16="http://schemas.microsoft.com/office/drawing/2014/main" id="{B81D0F7B-0E8F-422E-8B58-86A9FF11FB2E}"/>
              </a:ext>
            </a:extLst>
          </p:cNvPr>
          <p:cNvSpPr txBox="1">
            <a:spLocks noChangeArrowheads="1"/>
          </p:cNvSpPr>
          <p:nvPr userDrawn="1"/>
        </p:nvSpPr>
        <p:spPr bwMode="gray">
          <a:xfrm>
            <a:off x="0" y="6390000"/>
            <a:ext cx="2160000" cy="468000"/>
          </a:xfrm>
          <a:prstGeom prst="rect">
            <a:avLst/>
          </a:prstGeom>
          <a:gradFill>
            <a:gsLst>
              <a:gs pos="50000">
                <a:srgbClr val="00315F"/>
              </a:gs>
              <a:gs pos="0">
                <a:srgbClr val="00022B"/>
              </a:gs>
              <a:gs pos="100000">
                <a:srgbClr val="0080B6"/>
              </a:gs>
            </a:gsLst>
            <a:lin ang="1620000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endParaRPr lang="en-US" sz="1600">
              <a:solidFill>
                <a:schemeClr val="bg1"/>
              </a:solidFill>
            </a:endParaRPr>
          </a:p>
        </p:txBody>
      </p:sp>
      <p:sp>
        <p:nvSpPr>
          <p:cNvPr id="65" name="cdtText Box 4 Id114692">
            <a:extLst>
              <a:ext uri="{FF2B5EF4-FFF2-40B4-BE49-F238E27FC236}">
                <a16:creationId xmlns:a16="http://schemas.microsoft.com/office/drawing/2014/main" id="{B07A17E1-3CA9-4CD1-B6E9-09CBC9BB71BA}"/>
              </a:ext>
            </a:extLst>
          </p:cNvPr>
          <p:cNvSpPr txBox="1">
            <a:spLocks noChangeArrowheads="1"/>
          </p:cNvSpPr>
          <p:nvPr userDrawn="1"/>
        </p:nvSpPr>
        <p:spPr bwMode="gray">
          <a:xfrm>
            <a:off x="0" y="0"/>
            <a:ext cx="2160000" cy="468000"/>
          </a:xfrm>
          <a:prstGeom prst="rect">
            <a:avLst/>
          </a:prstGeom>
          <a:gradFill>
            <a:gsLst>
              <a:gs pos="60000">
                <a:srgbClr val="00315F"/>
              </a:gs>
              <a:gs pos="23000">
                <a:srgbClr val="00022B"/>
              </a:gs>
              <a:gs pos="100000">
                <a:srgbClr val="0080B6"/>
              </a:gs>
            </a:gsLst>
            <a:lin ang="540000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endParaRPr lang="en-US" sz="1600">
              <a:solidFill>
                <a:schemeClr val="bg1"/>
              </a:solidFill>
            </a:endParaRPr>
          </a:p>
        </p:txBody>
      </p:sp>
      <p:sp>
        <p:nvSpPr>
          <p:cNvPr id="53" name="Rechteck 27">
            <a:extLst>
              <a:ext uri="{FF2B5EF4-FFF2-40B4-BE49-F238E27FC236}">
                <a16:creationId xmlns:a16="http://schemas.microsoft.com/office/drawing/2014/main" id="{4DBBA44B-0935-4E01-A946-BB7E914F8D55}"/>
              </a:ext>
            </a:extLst>
          </p:cNvPr>
          <p:cNvSpPr/>
          <p:nvPr userDrawn="1"/>
        </p:nvSpPr>
        <p:spPr bwMode="auto">
          <a:xfrm>
            <a:off x="12362" y="48486"/>
            <a:ext cx="2162645" cy="413666"/>
          </a:xfrm>
          <a:prstGeom prst="rect">
            <a:avLst/>
          </a:prstGeom>
          <a:noFill/>
          <a:ln w="3175">
            <a:noFill/>
          </a:ln>
          <a:effectLst/>
        </p:spPr>
        <p:txBody>
          <a:bodyPr wrap="square" lIns="36000" tIns="72000" rIns="108000" bIns="72000" numCol="1" spcCol="72000" rtlCol="0" anchor="t" anchorCtr="0">
            <a:noAutofit/>
          </a:bodyPr>
          <a:lstStyle/>
          <a:p>
            <a:pPr marL="0" marR="0" lvl="0" indent="0" algn="l" defTabSz="914400" rtl="0" eaLnBrk="1" fontAlgn="base" latinLnBrk="0" hangingPunct="1">
              <a:lnSpc>
                <a:spcPts val="1900"/>
              </a:lnSpc>
              <a:spcBef>
                <a:spcPts val="0"/>
              </a:spcBef>
              <a:spcAft>
                <a:spcPts val="0"/>
              </a:spcAft>
              <a:buClrTx/>
              <a:buSzTx/>
              <a:buFontTx/>
              <a:buNone/>
              <a:tabLst/>
              <a:defRPr/>
            </a:pPr>
            <a:r>
              <a:rPr lang="en-US" sz="1200" b="1">
                <a:solidFill>
                  <a:schemeClr val="bg1"/>
                </a:solidFill>
                <a:latin typeface="Siemens Sans" pitchFamily="2" charset="0"/>
              </a:rPr>
              <a:t>Climatix - courseware</a:t>
            </a:r>
            <a:endParaRPr lang="en-US" sz="1200">
              <a:solidFill>
                <a:schemeClr val="bg1"/>
              </a:solidFill>
              <a:latin typeface="Siemens Sans SC Black" pitchFamily="2" charset="0"/>
            </a:endParaRPr>
          </a:p>
        </p:txBody>
      </p:sp>
      <p:sp>
        <p:nvSpPr>
          <p:cNvPr id="64" name="Slide Number Placeholder">
            <a:extLst>
              <a:ext uri="{FF2B5EF4-FFF2-40B4-BE49-F238E27FC236}">
                <a16:creationId xmlns:a16="http://schemas.microsoft.com/office/drawing/2014/main" id="{D2CC280D-9D6F-4BB0-B648-8D4A6051CAF0}"/>
              </a:ext>
            </a:extLst>
          </p:cNvPr>
          <p:cNvSpPr txBox="1">
            <a:spLocks/>
          </p:cNvSpPr>
          <p:nvPr userDrawn="1"/>
        </p:nvSpPr>
        <p:spPr>
          <a:xfrm>
            <a:off x="1372062" y="6576879"/>
            <a:ext cx="932362" cy="547200"/>
          </a:xfrm>
          <a:prstGeom prst="rect">
            <a:avLst/>
          </a:prstGeom>
        </p:spPr>
        <p:txBody>
          <a:bodyPr/>
          <a:lstStyle>
            <a:defPPr>
              <a:defRPr lang="de-DE"/>
            </a:defPPr>
            <a:lvl1pPr algn="ctr" rtl="0" fontAlgn="base">
              <a:spcBef>
                <a:spcPct val="50000"/>
              </a:spcBef>
              <a:spcAft>
                <a:spcPct val="0"/>
              </a:spcAft>
              <a:defRPr kern="1400">
                <a:solidFill>
                  <a:schemeClr val="bg2"/>
                </a:solidFill>
                <a:latin typeface="Arial" pitchFamily="34" charset="0"/>
                <a:ea typeface="ＭＳ Ｐゴシック" charset="-128"/>
                <a:cs typeface="+mn-cs"/>
              </a:defRPr>
            </a:lvl1pPr>
            <a:lvl2pPr marL="457200" algn="ctr" rtl="0" fontAlgn="base">
              <a:spcBef>
                <a:spcPct val="50000"/>
              </a:spcBef>
              <a:spcAft>
                <a:spcPct val="0"/>
              </a:spcAft>
              <a:defRPr kern="1400">
                <a:solidFill>
                  <a:schemeClr val="bg2"/>
                </a:solidFill>
                <a:latin typeface="Arial" pitchFamily="34" charset="0"/>
                <a:ea typeface="ＭＳ Ｐゴシック" charset="-128"/>
                <a:cs typeface="+mn-cs"/>
              </a:defRPr>
            </a:lvl2pPr>
            <a:lvl3pPr marL="914400" algn="ctr" rtl="0" fontAlgn="base">
              <a:spcBef>
                <a:spcPct val="50000"/>
              </a:spcBef>
              <a:spcAft>
                <a:spcPct val="0"/>
              </a:spcAft>
              <a:defRPr kern="1400">
                <a:solidFill>
                  <a:schemeClr val="bg2"/>
                </a:solidFill>
                <a:latin typeface="Arial" pitchFamily="34" charset="0"/>
                <a:ea typeface="ＭＳ Ｐゴシック" charset="-128"/>
                <a:cs typeface="+mn-cs"/>
              </a:defRPr>
            </a:lvl3pPr>
            <a:lvl4pPr marL="1371600" algn="ctr" rtl="0" fontAlgn="base">
              <a:spcBef>
                <a:spcPct val="50000"/>
              </a:spcBef>
              <a:spcAft>
                <a:spcPct val="0"/>
              </a:spcAft>
              <a:defRPr kern="1400">
                <a:solidFill>
                  <a:schemeClr val="bg2"/>
                </a:solidFill>
                <a:latin typeface="Arial" pitchFamily="34" charset="0"/>
                <a:ea typeface="ＭＳ Ｐゴシック" charset="-128"/>
                <a:cs typeface="+mn-cs"/>
              </a:defRPr>
            </a:lvl4pPr>
            <a:lvl5pPr marL="1828800" algn="ctr" rtl="0" fontAlgn="base">
              <a:spcBef>
                <a:spcPct val="50000"/>
              </a:spcBef>
              <a:spcAft>
                <a:spcPct val="0"/>
              </a:spcAft>
              <a:defRPr kern="1400">
                <a:solidFill>
                  <a:schemeClr val="bg2"/>
                </a:solidFill>
                <a:latin typeface="Arial" pitchFamily="34" charset="0"/>
                <a:ea typeface="ＭＳ Ｐゴシック" charset="-128"/>
                <a:cs typeface="+mn-cs"/>
              </a:defRPr>
            </a:lvl5pPr>
            <a:lvl6pPr marL="2286000" algn="ctr" defTabSz="914400" rtl="0" eaLnBrk="1" latinLnBrk="0" hangingPunct="1">
              <a:defRPr kern="1400">
                <a:solidFill>
                  <a:schemeClr val="bg2"/>
                </a:solidFill>
                <a:latin typeface="Arial" pitchFamily="34" charset="0"/>
                <a:ea typeface="ＭＳ Ｐゴシック" charset="-128"/>
                <a:cs typeface="+mn-cs"/>
              </a:defRPr>
            </a:lvl6pPr>
            <a:lvl7pPr marL="2743200" algn="ctr" defTabSz="914400" rtl="0" eaLnBrk="1" latinLnBrk="0" hangingPunct="1">
              <a:defRPr kern="1400">
                <a:solidFill>
                  <a:schemeClr val="bg2"/>
                </a:solidFill>
                <a:latin typeface="Arial" pitchFamily="34" charset="0"/>
                <a:ea typeface="ＭＳ Ｐゴシック" charset="-128"/>
                <a:cs typeface="+mn-cs"/>
              </a:defRPr>
            </a:lvl7pPr>
            <a:lvl8pPr marL="3200400" algn="ctr" defTabSz="914400" rtl="0" eaLnBrk="1" latinLnBrk="0" hangingPunct="1">
              <a:defRPr kern="1400">
                <a:solidFill>
                  <a:schemeClr val="bg2"/>
                </a:solidFill>
                <a:latin typeface="Arial" pitchFamily="34" charset="0"/>
                <a:ea typeface="ＭＳ Ｐゴシック" charset="-128"/>
                <a:cs typeface="+mn-cs"/>
              </a:defRPr>
            </a:lvl8pPr>
            <a:lvl9pPr marL="3657600" algn="ctr" defTabSz="914400" rtl="0" eaLnBrk="1" latinLnBrk="0" hangingPunct="1">
              <a:defRPr kern="1400">
                <a:solidFill>
                  <a:schemeClr val="bg2"/>
                </a:solidFill>
                <a:latin typeface="Arial" pitchFamily="34" charset="0"/>
                <a:ea typeface="ＭＳ Ｐゴシック" charset="-128"/>
                <a:cs typeface="+mn-cs"/>
              </a:defRPr>
            </a:lvl9pPr>
          </a:lstStyle>
          <a:p>
            <a:r>
              <a:rPr lang="en-US" sz="1000">
                <a:solidFill>
                  <a:schemeClr val="bg1"/>
                </a:solidFill>
              </a:rPr>
              <a:t>Page </a:t>
            </a:r>
            <a:fld id="{15EBE321-CBB1-4E91-BD14-37C8D44326FB}" type="slidenum">
              <a:rPr lang="en-US" sz="1000" smtClean="0">
                <a:solidFill>
                  <a:schemeClr val="bg1"/>
                </a:solidFill>
              </a:rPr>
              <a:pPr/>
              <a:t>‹Nr.›</a:t>
            </a:fld>
            <a:endParaRPr lang="en-US" sz="1000">
              <a:solidFill>
                <a:schemeClr val="bg1"/>
              </a:solidFill>
            </a:endParaRPr>
          </a:p>
        </p:txBody>
      </p:sp>
      <p:pic>
        <p:nvPicPr>
          <p:cNvPr id="66" name="Cognisphere" descr="A picture containing fireworks, star, table, sky&#10;&#10;Description automatically generated">
            <a:extLst>
              <a:ext uri="{FF2B5EF4-FFF2-40B4-BE49-F238E27FC236}">
                <a16:creationId xmlns:a16="http://schemas.microsoft.com/office/drawing/2014/main" id="{F718B62D-DEBD-4B64-BCBB-D638F65B7DAF}"/>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t="16050" r="37225"/>
          <a:stretch/>
        </p:blipFill>
        <p:spPr>
          <a:xfrm>
            <a:off x="-1571" y="7534185"/>
            <a:ext cx="2162645" cy="857971"/>
          </a:xfrm>
          <a:prstGeom prst="rect">
            <a:avLst/>
          </a:prstGeom>
        </p:spPr>
      </p:pic>
      <p:pic>
        <p:nvPicPr>
          <p:cNvPr id="67" name="Picture 2">
            <a:extLst>
              <a:ext uri="{FF2B5EF4-FFF2-40B4-BE49-F238E27FC236}">
                <a16:creationId xmlns:a16="http://schemas.microsoft.com/office/drawing/2014/main" id="{0A2835B4-E22B-4C46-B29E-BF593721B89D}"/>
              </a:ext>
            </a:extLst>
          </p:cNvPr>
          <p:cNvPicPr>
            <a:picLocks noChangeAspect="1" noChangeArrowheads="1"/>
          </p:cNvPicPr>
          <p:nvPr userDrawn="1"/>
        </p:nvPicPr>
        <p:blipFill rotWithShape="1">
          <a:blip r:embed="rId9" cstate="hqprint">
            <a:extLst>
              <a:ext uri="{28A0092B-C50C-407E-A947-70E740481C1C}">
                <a14:useLocalDpi xmlns:a14="http://schemas.microsoft.com/office/drawing/2010/main"/>
              </a:ext>
            </a:extLst>
          </a:blip>
          <a:srcRect l="4815" t="1" r="13436" b="42973"/>
          <a:stretch/>
        </p:blipFill>
        <p:spPr bwMode="auto">
          <a:xfrm>
            <a:off x="-1571" y="7510416"/>
            <a:ext cx="1227984" cy="362593"/>
          </a:xfrm>
          <a:prstGeom prst="rect">
            <a:avLst/>
          </a:prstGeom>
        </p:spPr>
      </p:pic>
      <p:sp>
        <p:nvSpPr>
          <p:cNvPr id="68" name="Slide Number Placeholder">
            <a:extLst>
              <a:ext uri="{FF2B5EF4-FFF2-40B4-BE49-F238E27FC236}">
                <a16:creationId xmlns:a16="http://schemas.microsoft.com/office/drawing/2014/main" id="{6F6F8A4A-1985-4589-BFAB-7E77C9C36DE0}"/>
              </a:ext>
            </a:extLst>
          </p:cNvPr>
          <p:cNvSpPr txBox="1">
            <a:spLocks/>
          </p:cNvSpPr>
          <p:nvPr userDrawn="1"/>
        </p:nvSpPr>
        <p:spPr>
          <a:xfrm>
            <a:off x="1308289" y="7588796"/>
            <a:ext cx="932362" cy="547200"/>
          </a:xfrm>
          <a:prstGeom prst="rect">
            <a:avLst/>
          </a:prstGeom>
        </p:spPr>
        <p:txBody>
          <a:bodyPr/>
          <a:lstStyle>
            <a:defPPr>
              <a:defRPr lang="de-DE"/>
            </a:defPPr>
            <a:lvl1pPr algn="ctr" rtl="0" fontAlgn="base">
              <a:spcBef>
                <a:spcPct val="50000"/>
              </a:spcBef>
              <a:spcAft>
                <a:spcPct val="0"/>
              </a:spcAft>
              <a:defRPr kern="1400">
                <a:solidFill>
                  <a:schemeClr val="bg2"/>
                </a:solidFill>
                <a:latin typeface="Arial" pitchFamily="34" charset="0"/>
                <a:ea typeface="ＭＳ Ｐゴシック" charset="-128"/>
                <a:cs typeface="+mn-cs"/>
              </a:defRPr>
            </a:lvl1pPr>
            <a:lvl2pPr marL="457200" algn="ctr" rtl="0" fontAlgn="base">
              <a:spcBef>
                <a:spcPct val="50000"/>
              </a:spcBef>
              <a:spcAft>
                <a:spcPct val="0"/>
              </a:spcAft>
              <a:defRPr kern="1400">
                <a:solidFill>
                  <a:schemeClr val="bg2"/>
                </a:solidFill>
                <a:latin typeface="Arial" pitchFamily="34" charset="0"/>
                <a:ea typeface="ＭＳ Ｐゴシック" charset="-128"/>
                <a:cs typeface="+mn-cs"/>
              </a:defRPr>
            </a:lvl2pPr>
            <a:lvl3pPr marL="914400" algn="ctr" rtl="0" fontAlgn="base">
              <a:spcBef>
                <a:spcPct val="50000"/>
              </a:spcBef>
              <a:spcAft>
                <a:spcPct val="0"/>
              </a:spcAft>
              <a:defRPr kern="1400">
                <a:solidFill>
                  <a:schemeClr val="bg2"/>
                </a:solidFill>
                <a:latin typeface="Arial" pitchFamily="34" charset="0"/>
                <a:ea typeface="ＭＳ Ｐゴシック" charset="-128"/>
                <a:cs typeface="+mn-cs"/>
              </a:defRPr>
            </a:lvl3pPr>
            <a:lvl4pPr marL="1371600" algn="ctr" rtl="0" fontAlgn="base">
              <a:spcBef>
                <a:spcPct val="50000"/>
              </a:spcBef>
              <a:spcAft>
                <a:spcPct val="0"/>
              </a:spcAft>
              <a:defRPr kern="1400">
                <a:solidFill>
                  <a:schemeClr val="bg2"/>
                </a:solidFill>
                <a:latin typeface="Arial" pitchFamily="34" charset="0"/>
                <a:ea typeface="ＭＳ Ｐゴシック" charset="-128"/>
                <a:cs typeface="+mn-cs"/>
              </a:defRPr>
            </a:lvl4pPr>
            <a:lvl5pPr marL="1828800" algn="ctr" rtl="0" fontAlgn="base">
              <a:spcBef>
                <a:spcPct val="50000"/>
              </a:spcBef>
              <a:spcAft>
                <a:spcPct val="0"/>
              </a:spcAft>
              <a:defRPr kern="1400">
                <a:solidFill>
                  <a:schemeClr val="bg2"/>
                </a:solidFill>
                <a:latin typeface="Arial" pitchFamily="34" charset="0"/>
                <a:ea typeface="ＭＳ Ｐゴシック" charset="-128"/>
                <a:cs typeface="+mn-cs"/>
              </a:defRPr>
            </a:lvl5pPr>
            <a:lvl6pPr marL="2286000" algn="ctr" defTabSz="914400" rtl="0" eaLnBrk="1" latinLnBrk="0" hangingPunct="1">
              <a:defRPr kern="1400">
                <a:solidFill>
                  <a:schemeClr val="bg2"/>
                </a:solidFill>
                <a:latin typeface="Arial" pitchFamily="34" charset="0"/>
                <a:ea typeface="ＭＳ Ｐゴシック" charset="-128"/>
                <a:cs typeface="+mn-cs"/>
              </a:defRPr>
            </a:lvl6pPr>
            <a:lvl7pPr marL="2743200" algn="ctr" defTabSz="914400" rtl="0" eaLnBrk="1" latinLnBrk="0" hangingPunct="1">
              <a:defRPr kern="1400">
                <a:solidFill>
                  <a:schemeClr val="bg2"/>
                </a:solidFill>
                <a:latin typeface="Arial" pitchFamily="34" charset="0"/>
                <a:ea typeface="ＭＳ Ｐゴシック" charset="-128"/>
                <a:cs typeface="+mn-cs"/>
              </a:defRPr>
            </a:lvl7pPr>
            <a:lvl8pPr marL="3200400" algn="ctr" defTabSz="914400" rtl="0" eaLnBrk="1" latinLnBrk="0" hangingPunct="1">
              <a:defRPr kern="1400">
                <a:solidFill>
                  <a:schemeClr val="bg2"/>
                </a:solidFill>
                <a:latin typeface="Arial" pitchFamily="34" charset="0"/>
                <a:ea typeface="ＭＳ Ｐゴシック" charset="-128"/>
                <a:cs typeface="+mn-cs"/>
              </a:defRPr>
            </a:lvl8pPr>
            <a:lvl9pPr marL="3657600" algn="ctr" defTabSz="914400" rtl="0" eaLnBrk="1" latinLnBrk="0" hangingPunct="1">
              <a:defRPr kern="1400">
                <a:solidFill>
                  <a:schemeClr val="bg2"/>
                </a:solidFill>
                <a:latin typeface="Arial" pitchFamily="34" charset="0"/>
                <a:ea typeface="ＭＳ Ｐゴシック" charset="-128"/>
                <a:cs typeface="+mn-cs"/>
              </a:defRPr>
            </a:lvl9pPr>
          </a:lstStyle>
          <a:p>
            <a:r>
              <a:rPr lang="en-US" sz="1000">
                <a:solidFill>
                  <a:schemeClr val="bg1"/>
                </a:solidFill>
              </a:rPr>
              <a:t>Page </a:t>
            </a:r>
            <a:fld id="{15EBE321-CBB1-4E91-BD14-37C8D44326FB}" type="slidenum">
              <a:rPr lang="en-US" sz="1000" smtClean="0">
                <a:solidFill>
                  <a:schemeClr val="bg1"/>
                </a:solidFill>
              </a:rPr>
              <a:pPr/>
              <a:t>‹Nr.›</a:t>
            </a:fld>
            <a:endParaRPr lang="en-US" sz="1000">
              <a:solidFill>
                <a:schemeClr val="bg1"/>
              </a:solidFill>
            </a:endParaRPr>
          </a:p>
        </p:txBody>
      </p:sp>
      <p:pic>
        <p:nvPicPr>
          <p:cNvPr id="70" name="Siemens Logo">
            <a:extLst>
              <a:ext uri="{FF2B5EF4-FFF2-40B4-BE49-F238E27FC236}">
                <a16:creationId xmlns:a16="http://schemas.microsoft.com/office/drawing/2014/main" id="{010BE05E-61C1-49FC-8123-9E6455B20742}"/>
              </a:ext>
            </a:extLst>
          </p:cNvPr>
          <p:cNvPicPr>
            <a:picLocks noChangeAspect="1"/>
          </p:cNvPicPr>
          <p:nvPr userDrawn="1"/>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66917" y="6605373"/>
            <a:ext cx="932362" cy="148246"/>
          </a:xfrm>
          <a:prstGeom prst="rect">
            <a:avLst/>
          </a:prstGeom>
        </p:spPr>
      </p:pic>
      <p:sp>
        <p:nvSpPr>
          <p:cNvPr id="74" name="Rechteck 27">
            <a:extLst>
              <a:ext uri="{FF2B5EF4-FFF2-40B4-BE49-F238E27FC236}">
                <a16:creationId xmlns:a16="http://schemas.microsoft.com/office/drawing/2014/main" id="{6109B672-6536-4221-A1A5-D6ED7BD59DED}"/>
              </a:ext>
            </a:extLst>
          </p:cNvPr>
          <p:cNvSpPr/>
          <p:nvPr userDrawn="1"/>
        </p:nvSpPr>
        <p:spPr bwMode="auto">
          <a:xfrm>
            <a:off x="145090" y="6795411"/>
            <a:ext cx="2162645" cy="413666"/>
          </a:xfrm>
          <a:prstGeom prst="rect">
            <a:avLst/>
          </a:prstGeom>
          <a:noFill/>
          <a:ln w="3175">
            <a:noFill/>
          </a:ln>
          <a:effectLst/>
        </p:spPr>
        <p:txBody>
          <a:bodyPr wrap="square" lIns="36000" tIns="72000" rIns="108000" bIns="72000" numCol="1" spcCol="72000" rtlCol="0" anchor="t" anchorCtr="0">
            <a:noAutofit/>
          </a:bodyPr>
          <a:lstStyle/>
          <a:p>
            <a:pPr marL="0" marR="0" lvl="0" indent="0" algn="l" defTabSz="914400" rtl="0" eaLnBrk="1" fontAlgn="base" latinLnBrk="0" hangingPunct="1">
              <a:lnSpc>
                <a:spcPts val="1900"/>
              </a:lnSpc>
              <a:spcBef>
                <a:spcPts val="0"/>
              </a:spcBef>
              <a:spcAft>
                <a:spcPts val="0"/>
              </a:spcAft>
              <a:buClrTx/>
              <a:buSzTx/>
              <a:buFontTx/>
              <a:buNone/>
              <a:tabLst/>
              <a:defRPr/>
            </a:pPr>
            <a:r>
              <a:rPr lang="en-US" sz="1100" b="1" dirty="0">
                <a:solidFill>
                  <a:schemeClr val="bg1"/>
                </a:solidFill>
                <a:latin typeface="Siemens Sans" pitchFamily="2" charset="0"/>
              </a:rPr>
              <a:t>Climatix </a:t>
            </a:r>
            <a:r>
              <a:rPr lang="en-US" sz="1100" dirty="0">
                <a:solidFill>
                  <a:schemeClr val="bg1"/>
                </a:solidFill>
                <a:latin typeface="Siemens Sans" pitchFamily="2" charset="0"/>
              </a:rPr>
              <a:t>© 2020</a:t>
            </a:r>
            <a:endParaRPr lang="en-US" sz="1100" dirty="0">
              <a:solidFill>
                <a:schemeClr val="bg1"/>
              </a:solidFill>
              <a:latin typeface="Siemens Sans SC Black" pitchFamily="2" charset="0"/>
            </a:endParaRPr>
          </a:p>
          <a:p>
            <a:pPr marL="0" algn="l">
              <a:lnSpc>
                <a:spcPts val="1700"/>
              </a:lnSpc>
              <a:spcBef>
                <a:spcPts val="0"/>
              </a:spcBef>
              <a:spcAft>
                <a:spcPts val="0"/>
              </a:spcAft>
            </a:pPr>
            <a:r>
              <a:rPr lang="en-US" sz="1100" noProof="0" dirty="0">
                <a:solidFill>
                  <a:schemeClr val="bg1"/>
                </a:solidFill>
                <a:latin typeface="Siemens Sans" pitchFamily="2" charset="0"/>
              </a:rPr>
              <a:t>SAPRO Courseware</a:t>
            </a:r>
          </a:p>
        </p:txBody>
      </p:sp>
      <p:sp>
        <p:nvSpPr>
          <p:cNvPr id="2" name="Rectangle 1">
            <a:extLst>
              <a:ext uri="{FF2B5EF4-FFF2-40B4-BE49-F238E27FC236}">
                <a16:creationId xmlns:a16="http://schemas.microsoft.com/office/drawing/2014/main" id="{DAC7EE27-538F-4781-8E80-A7050CA678E8}"/>
              </a:ext>
            </a:extLst>
          </p:cNvPr>
          <p:cNvSpPr/>
          <p:nvPr userDrawn="1"/>
        </p:nvSpPr>
        <p:spPr bwMode="auto">
          <a:xfrm>
            <a:off x="-638175" y="467999"/>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5" name="Rectangle 14">
            <a:extLst>
              <a:ext uri="{FF2B5EF4-FFF2-40B4-BE49-F238E27FC236}">
                <a16:creationId xmlns:a16="http://schemas.microsoft.com/office/drawing/2014/main" id="{2E4EAEB0-CB28-4934-813F-8AD00CC4D751}"/>
              </a:ext>
            </a:extLst>
          </p:cNvPr>
          <p:cNvSpPr/>
          <p:nvPr userDrawn="1"/>
        </p:nvSpPr>
        <p:spPr bwMode="auto">
          <a:xfrm>
            <a:off x="-638175" y="727500"/>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6" name="Rectangle 15">
            <a:extLst>
              <a:ext uri="{FF2B5EF4-FFF2-40B4-BE49-F238E27FC236}">
                <a16:creationId xmlns:a16="http://schemas.microsoft.com/office/drawing/2014/main" id="{D585220E-7086-4CC9-B375-CC9686DFC2AB}"/>
              </a:ext>
            </a:extLst>
          </p:cNvPr>
          <p:cNvSpPr/>
          <p:nvPr userDrawn="1"/>
        </p:nvSpPr>
        <p:spPr bwMode="auto">
          <a:xfrm>
            <a:off x="-638175" y="988804"/>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7" name="Rectangle 16">
            <a:extLst>
              <a:ext uri="{FF2B5EF4-FFF2-40B4-BE49-F238E27FC236}">
                <a16:creationId xmlns:a16="http://schemas.microsoft.com/office/drawing/2014/main" id="{B0CB6D1F-8FF2-48C2-8753-13170F55BA58}"/>
              </a:ext>
            </a:extLst>
          </p:cNvPr>
          <p:cNvSpPr/>
          <p:nvPr userDrawn="1"/>
        </p:nvSpPr>
        <p:spPr bwMode="auto">
          <a:xfrm>
            <a:off x="-638175" y="1236719"/>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8" name="Rectangle 17">
            <a:extLst>
              <a:ext uri="{FF2B5EF4-FFF2-40B4-BE49-F238E27FC236}">
                <a16:creationId xmlns:a16="http://schemas.microsoft.com/office/drawing/2014/main" id="{FA42EF33-97DD-4081-8357-9BB549B99F4B}"/>
              </a:ext>
            </a:extLst>
          </p:cNvPr>
          <p:cNvSpPr/>
          <p:nvPr userDrawn="1"/>
        </p:nvSpPr>
        <p:spPr bwMode="auto">
          <a:xfrm>
            <a:off x="-638175" y="1488498"/>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9" name="Rectangle 18">
            <a:extLst>
              <a:ext uri="{FF2B5EF4-FFF2-40B4-BE49-F238E27FC236}">
                <a16:creationId xmlns:a16="http://schemas.microsoft.com/office/drawing/2014/main" id="{F4DE899B-45DC-4333-AFCA-A0DFBD837582}"/>
              </a:ext>
            </a:extLst>
          </p:cNvPr>
          <p:cNvSpPr/>
          <p:nvPr userDrawn="1"/>
        </p:nvSpPr>
        <p:spPr bwMode="auto">
          <a:xfrm>
            <a:off x="-638175" y="1724882"/>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20" name="Rectangle 19">
            <a:extLst>
              <a:ext uri="{FF2B5EF4-FFF2-40B4-BE49-F238E27FC236}">
                <a16:creationId xmlns:a16="http://schemas.microsoft.com/office/drawing/2014/main" id="{953EA200-5B78-401C-A1EC-06ABC6477592}"/>
              </a:ext>
            </a:extLst>
          </p:cNvPr>
          <p:cNvSpPr/>
          <p:nvPr userDrawn="1"/>
        </p:nvSpPr>
        <p:spPr bwMode="auto">
          <a:xfrm>
            <a:off x="-638175" y="1963045"/>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21" name="Rectangle 20">
            <a:extLst>
              <a:ext uri="{FF2B5EF4-FFF2-40B4-BE49-F238E27FC236}">
                <a16:creationId xmlns:a16="http://schemas.microsoft.com/office/drawing/2014/main" id="{369D7831-FA4F-46FB-A7C7-7DA736C3F4EA}"/>
              </a:ext>
            </a:extLst>
          </p:cNvPr>
          <p:cNvSpPr/>
          <p:nvPr userDrawn="1"/>
        </p:nvSpPr>
        <p:spPr bwMode="auto">
          <a:xfrm>
            <a:off x="-638175" y="2201308"/>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22" name="Rectangle 21">
            <a:extLst>
              <a:ext uri="{FF2B5EF4-FFF2-40B4-BE49-F238E27FC236}">
                <a16:creationId xmlns:a16="http://schemas.microsoft.com/office/drawing/2014/main" id="{F7857D5E-AA39-4586-AABA-7215299BA5C3}"/>
              </a:ext>
            </a:extLst>
          </p:cNvPr>
          <p:cNvSpPr/>
          <p:nvPr userDrawn="1"/>
        </p:nvSpPr>
        <p:spPr bwMode="auto">
          <a:xfrm>
            <a:off x="-638175" y="2428899"/>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23" name="Rectangle 22">
            <a:extLst>
              <a:ext uri="{FF2B5EF4-FFF2-40B4-BE49-F238E27FC236}">
                <a16:creationId xmlns:a16="http://schemas.microsoft.com/office/drawing/2014/main" id="{A7495825-201B-453E-931F-D7F3B95527BF}"/>
              </a:ext>
            </a:extLst>
          </p:cNvPr>
          <p:cNvSpPr/>
          <p:nvPr userDrawn="1"/>
        </p:nvSpPr>
        <p:spPr bwMode="auto">
          <a:xfrm>
            <a:off x="-638175" y="2676261"/>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24" name="Rectangle 23">
            <a:extLst>
              <a:ext uri="{FF2B5EF4-FFF2-40B4-BE49-F238E27FC236}">
                <a16:creationId xmlns:a16="http://schemas.microsoft.com/office/drawing/2014/main" id="{10B41F1B-B6ED-40CB-AA64-2C9374DFB5A4}"/>
              </a:ext>
            </a:extLst>
          </p:cNvPr>
          <p:cNvSpPr/>
          <p:nvPr userDrawn="1"/>
        </p:nvSpPr>
        <p:spPr bwMode="auto">
          <a:xfrm>
            <a:off x="-638175" y="2945050"/>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25" name="Rectangle 24">
            <a:extLst>
              <a:ext uri="{FF2B5EF4-FFF2-40B4-BE49-F238E27FC236}">
                <a16:creationId xmlns:a16="http://schemas.microsoft.com/office/drawing/2014/main" id="{4A46AD4E-C12A-4889-BBF2-7AF23AA55E10}"/>
              </a:ext>
            </a:extLst>
          </p:cNvPr>
          <p:cNvSpPr/>
          <p:nvPr userDrawn="1"/>
        </p:nvSpPr>
        <p:spPr bwMode="auto">
          <a:xfrm>
            <a:off x="-638175" y="3185102"/>
            <a:ext cx="643570" cy="223200"/>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graphicFrame>
        <p:nvGraphicFramePr>
          <p:cNvPr id="27" name="Table 46">
            <a:extLst>
              <a:ext uri="{FF2B5EF4-FFF2-40B4-BE49-F238E27FC236}">
                <a16:creationId xmlns:a16="http://schemas.microsoft.com/office/drawing/2014/main" id="{A7E9F445-986C-4021-A63D-2C65DFA3824A}"/>
              </a:ext>
            </a:extLst>
          </p:cNvPr>
          <p:cNvGraphicFramePr>
            <a:graphicFrameLocks noGrp="1"/>
          </p:cNvGraphicFramePr>
          <p:nvPr userDrawn="1">
            <p:extLst>
              <p:ext uri="{D42A27DB-BD31-4B8C-83A1-F6EECF244321}">
                <p14:modId xmlns:p14="http://schemas.microsoft.com/office/powerpoint/2010/main" val="3604162415"/>
              </p:ext>
            </p:extLst>
          </p:nvPr>
        </p:nvGraphicFramePr>
        <p:xfrm>
          <a:off x="17503" y="472937"/>
          <a:ext cx="2122193" cy="5626276"/>
        </p:xfrm>
        <a:graphic>
          <a:graphicData uri="http://schemas.openxmlformats.org/drawingml/2006/table">
            <a:tbl>
              <a:tblPr>
                <a:tableStyleId>{5C22544A-7EE6-4342-B048-85BDC9FD1C3A}</a:tableStyleId>
              </a:tblPr>
              <a:tblGrid>
                <a:gridCol w="2122193">
                  <a:extLst>
                    <a:ext uri="{9D8B030D-6E8A-4147-A177-3AD203B41FA5}">
                      <a16:colId xmlns:a16="http://schemas.microsoft.com/office/drawing/2014/main" val="1040045700"/>
                    </a:ext>
                  </a:extLst>
                </a:gridCol>
              </a:tblGrid>
              <a:tr h="181034">
                <a:tc>
                  <a:txBody>
                    <a:bodyPr/>
                    <a:lstStyle/>
                    <a:p>
                      <a:pPr marL="0" marR="0" lvl="0" indent="0" algn="l" defTabSz="914400" rtl="0" eaLnBrk="1" fontAlgn="b" latinLnBrk="0" hangingPunct="1">
                        <a:lnSpc>
                          <a:spcPts val="1320"/>
                        </a:lnSpc>
                        <a:spcBef>
                          <a:spcPts val="0"/>
                        </a:spcBef>
                        <a:spcAft>
                          <a:spcPts val="0"/>
                        </a:spcAft>
                        <a:buClrTx/>
                        <a:buSzTx/>
                        <a:buFontTx/>
                        <a:buNone/>
                        <a:tabLst/>
                        <a:defRPr/>
                      </a:pPr>
                      <a:r>
                        <a:rPr lang="en-US" sz="1100" b="1" i="0" u="none" strike="noStrike" dirty="0">
                          <a:solidFill>
                            <a:schemeClr val="tx2">
                              <a:lumMod val="50000"/>
                              <a:lumOff val="50000"/>
                            </a:schemeClr>
                          </a:solidFill>
                          <a:effectLst/>
                          <a:latin typeface="+mn-lt"/>
                          <a:cs typeface="Arial" panose="020B0604020202020204" pitchFamily="34" charset="0"/>
                        </a:rPr>
                        <a:t>Introduction</a:t>
                      </a:r>
                    </a:p>
                  </a:txBody>
                  <a:tcPr marL="36000" marR="0" marT="36000" marB="36000" anchor="b">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350840654"/>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dirty="0">
                          <a:solidFill>
                            <a:schemeClr val="tx2">
                              <a:lumMod val="50000"/>
                              <a:lumOff val="50000"/>
                            </a:schemeClr>
                          </a:solidFill>
                          <a:latin typeface="+mn-lt"/>
                        </a:rPr>
                        <a:t>– </a:t>
                      </a:r>
                      <a:r>
                        <a:rPr lang="en-US" sz="1100" u="none" strike="noStrike" kern="1200" dirty="0">
                          <a:solidFill>
                            <a:schemeClr val="tx2">
                              <a:lumMod val="50000"/>
                              <a:lumOff val="50000"/>
                            </a:schemeClr>
                          </a:solidFill>
                          <a:effectLst/>
                          <a:latin typeface="+mn-lt"/>
                          <a:ea typeface="+mn-ea"/>
                          <a:cs typeface="Arial" panose="020B0604020202020204" pitchFamily="34" charset="0"/>
                        </a:rPr>
                        <a:t>P</a:t>
                      </a:r>
                      <a:r>
                        <a:rPr lang="en-US" sz="1100" u="none" strike="noStrike" dirty="0">
                          <a:solidFill>
                            <a:schemeClr val="tx2">
                              <a:lumMod val="50000"/>
                              <a:lumOff val="50000"/>
                            </a:schemeClr>
                          </a:solidFill>
                          <a:effectLst/>
                          <a:latin typeface="+mn-lt"/>
                          <a:cs typeface="Arial" panose="020B0604020202020204" pitchFamily="34" charset="0"/>
                        </a:rPr>
                        <a:t>roduct line / Tools</a:t>
                      </a:r>
                      <a:endParaRPr lang="en-US" sz="1100" u="none" strike="noStrike" kern="1200" dirty="0">
                        <a:solidFill>
                          <a:schemeClr val="tx2">
                            <a:lumMod val="50000"/>
                            <a:lumOff val="50000"/>
                          </a:schemeClr>
                        </a:solidFill>
                        <a:effectLst/>
                        <a:latin typeface="+mn-lt"/>
                        <a:ea typeface="+mn-ea"/>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354887946"/>
                  </a:ext>
                </a:extLst>
              </a:tr>
              <a:tr h="205325">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dirty="0">
                          <a:solidFill>
                            <a:schemeClr val="tx2">
                              <a:lumMod val="50000"/>
                              <a:lumOff val="50000"/>
                            </a:schemeClr>
                          </a:solidFill>
                          <a:effectLst/>
                          <a:latin typeface="+mn-lt"/>
                          <a:cs typeface="Arial" panose="020B0604020202020204" pitchFamily="34" charset="0"/>
                        </a:rPr>
                        <a:t>SAPRO</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949433187"/>
                  </a:ext>
                </a:extLst>
              </a:tr>
              <a:tr h="182974">
                <a:tc>
                  <a:txBody>
                    <a:bodyPr/>
                    <a:lstStyle/>
                    <a:p>
                      <a:pPr algn="l" fontAlgn="b"/>
                      <a:r>
                        <a:rPr lang="en-US" sz="1100" b="0" dirty="0">
                          <a:solidFill>
                            <a:schemeClr val="tx2">
                              <a:lumMod val="50000"/>
                              <a:lumOff val="50000"/>
                            </a:schemeClr>
                          </a:solidFill>
                          <a:latin typeface="+mn-lt"/>
                        </a:rPr>
                        <a:t>– </a:t>
                      </a:r>
                      <a:r>
                        <a:rPr lang="en-US" sz="1100" b="0" u="none" strike="noStrike" dirty="0">
                          <a:solidFill>
                            <a:schemeClr val="tx2">
                              <a:lumMod val="50000"/>
                              <a:lumOff val="50000"/>
                            </a:schemeClr>
                          </a:solidFill>
                          <a:effectLst/>
                          <a:latin typeface="+mn-lt"/>
                          <a:cs typeface="Arial" panose="020B0604020202020204" pitchFamily="34" charset="0"/>
                        </a:rPr>
                        <a:t>POUs / Libraries</a:t>
                      </a:r>
                      <a:endParaRPr lang="en-US" sz="1100" b="0" i="0" u="none" strike="noStrike" dirty="0">
                        <a:solidFill>
                          <a:schemeClr val="tx2">
                            <a:lumMod val="50000"/>
                            <a:lumOff val="50000"/>
                          </a:schemeClr>
                        </a:solidFill>
                        <a:effectLst/>
                        <a:latin typeface="+mn-lt"/>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707679614"/>
                  </a:ext>
                </a:extLst>
              </a:tr>
              <a:tr h="182974">
                <a:tc>
                  <a:txBody>
                    <a:bodyPr/>
                    <a:lstStyle/>
                    <a:p>
                      <a:pPr algn="l" fontAlgn="b"/>
                      <a:r>
                        <a:rPr lang="en-US" sz="1100" u="none" strike="noStrike" kern="1200" dirty="0">
                          <a:solidFill>
                            <a:schemeClr val="tx2">
                              <a:lumMod val="50000"/>
                              <a:lumOff val="50000"/>
                            </a:schemeClr>
                          </a:solidFill>
                          <a:effectLst/>
                          <a:latin typeface="+mn-lt"/>
                          <a:ea typeface="+mn-ea"/>
                          <a:cs typeface="Arial" panose="020B0604020202020204" pitchFamily="34" charset="0"/>
                        </a:rPr>
                        <a:t>– </a:t>
                      </a:r>
                      <a:r>
                        <a:rPr lang="en-US" sz="1100" u="none" strike="noStrike" kern="1200" noProof="0" dirty="0">
                          <a:solidFill>
                            <a:schemeClr val="tx2">
                              <a:lumMod val="50000"/>
                              <a:lumOff val="50000"/>
                            </a:schemeClr>
                          </a:solidFill>
                          <a:effectLst/>
                          <a:latin typeface="+mn-lt"/>
                          <a:ea typeface="+mn-ea"/>
                          <a:cs typeface="Arial" panose="020B0604020202020204" pitchFamily="34" charset="0"/>
                        </a:rPr>
                        <a:t>Function block / Local variable</a:t>
                      </a:r>
                      <a:endParaRPr lang="en-US" sz="1100" u="none" strike="noStrike" kern="1200" dirty="0">
                        <a:solidFill>
                          <a:schemeClr val="tx2">
                            <a:lumMod val="50000"/>
                            <a:lumOff val="50000"/>
                          </a:schemeClr>
                        </a:solidFill>
                        <a:effectLst/>
                        <a:latin typeface="+mn-lt"/>
                        <a:ea typeface="+mn-ea"/>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019614573"/>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u="none" strike="noStrike" kern="1200" noProof="0" dirty="0">
                          <a:solidFill>
                            <a:schemeClr val="tx2">
                              <a:lumMod val="50000"/>
                              <a:lumOff val="50000"/>
                            </a:schemeClr>
                          </a:solidFill>
                          <a:effectLst/>
                          <a:latin typeface="+mn-lt"/>
                          <a:ea typeface="+mn-ea"/>
                          <a:cs typeface="Arial" panose="020B0604020202020204" pitchFamily="34" charset="0"/>
                        </a:rPr>
                        <a:t>– </a:t>
                      </a:r>
                      <a:r>
                        <a:rPr lang="en-US" sz="1100" u="none" strike="noStrike" kern="1200" dirty="0">
                          <a:solidFill>
                            <a:schemeClr val="tx2">
                              <a:lumMod val="50000"/>
                              <a:lumOff val="50000"/>
                            </a:schemeClr>
                          </a:solidFill>
                          <a:effectLst/>
                          <a:latin typeface="+mn-lt"/>
                          <a:ea typeface="+mn-ea"/>
                          <a:cs typeface="Arial" panose="020B0604020202020204" pitchFamily="34" charset="0"/>
                        </a:rPr>
                        <a:t>Program hierarchy</a:t>
                      </a:r>
                      <a:endParaRPr lang="en-US" sz="1100" u="none" strike="noStrike" kern="1200" noProof="0" dirty="0">
                        <a:solidFill>
                          <a:schemeClr val="tx2">
                            <a:lumMod val="50000"/>
                            <a:lumOff val="50000"/>
                          </a:schemeClr>
                        </a:solidFill>
                        <a:effectLst/>
                        <a:latin typeface="+mn-lt"/>
                        <a:ea typeface="+mn-ea"/>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626583726"/>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u="none" strike="noStrike" kern="1200" noProof="0" dirty="0">
                          <a:solidFill>
                            <a:schemeClr val="tx2">
                              <a:lumMod val="50000"/>
                              <a:lumOff val="50000"/>
                            </a:schemeClr>
                          </a:solidFill>
                          <a:effectLst/>
                          <a:latin typeface="+mn-lt"/>
                          <a:ea typeface="+mn-ea"/>
                          <a:cs typeface="Arial" panose="020B0604020202020204" pitchFamily="34" charset="0"/>
                        </a:rPr>
                        <a:t>– Data types / Global variable</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78062048"/>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Online test</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634464637"/>
                  </a:ext>
                </a:extLst>
              </a:tr>
              <a:tr h="13863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a:solidFill>
                            <a:schemeClr val="tx2">
                              <a:lumMod val="50000"/>
                              <a:lumOff val="50000"/>
                            </a:schemeClr>
                          </a:solidFill>
                          <a:effectLst/>
                          <a:latin typeface="+mn-lt"/>
                          <a:ea typeface="+mn-ea"/>
                          <a:cs typeface="Arial" panose="020B0604020202020204" pitchFamily="34" charset="0"/>
                        </a:rPr>
                        <a:t>SCOPE</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942642343"/>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mn-cs"/>
                        </a:rPr>
                        <a:t>– Overview /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Hierarchy level</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303318218"/>
                  </a:ext>
                </a:extLst>
              </a:tr>
              <a:tr h="205325">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kern="1200" dirty="0">
                          <a:solidFill>
                            <a:schemeClr val="tx2">
                              <a:lumMod val="50000"/>
                              <a:lumOff val="50000"/>
                            </a:schemeClr>
                          </a:solidFill>
                          <a:effectLst/>
                          <a:latin typeface="+mn-lt"/>
                          <a:ea typeface="+mn-ea"/>
                          <a:cs typeface="Arial" panose="020B0604020202020204" pitchFamily="34" charset="0"/>
                        </a:rPr>
                        <a:t>HVAC control </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097885269"/>
                  </a:ext>
                </a:extLst>
              </a:tr>
              <a:tr h="182974">
                <a:tc>
                  <a:txBody>
                    <a:bodyPr/>
                    <a:lstStyle/>
                    <a:p>
                      <a:pPr algn="l" fontAlgn="b"/>
                      <a:r>
                        <a:rPr lang="en-US" sz="1100" dirty="0">
                          <a:solidFill>
                            <a:schemeClr val="tx2">
                              <a:lumMod val="50000"/>
                              <a:lumOff val="50000"/>
                            </a:schemeClr>
                          </a:solidFill>
                          <a:latin typeface="+mn-lt"/>
                        </a:rPr>
                        <a:t>–</a:t>
                      </a:r>
                      <a:r>
                        <a:rPr lang="en-US" sz="1100" u="none" strike="noStrike" dirty="0">
                          <a:solidFill>
                            <a:schemeClr val="tx2">
                              <a:lumMod val="50000"/>
                              <a:lumOff val="50000"/>
                            </a:schemeClr>
                          </a:solidFill>
                          <a:effectLst/>
                          <a:latin typeface="+mn-lt"/>
                          <a:cs typeface="Arial" panose="020B0604020202020204" pitchFamily="34" charset="0"/>
                        </a:rPr>
                        <a:t> Automation objects (IO)</a:t>
                      </a:r>
                      <a:endParaRPr lang="en-US" sz="1100" b="0" i="0" u="none" strike="noStrike" dirty="0">
                        <a:solidFill>
                          <a:schemeClr val="tx2">
                            <a:lumMod val="50000"/>
                            <a:lumOff val="50000"/>
                          </a:schemeClr>
                        </a:solidFill>
                        <a:effectLst/>
                        <a:latin typeface="+mn-lt"/>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41810765"/>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HW IO programming</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501328702"/>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HVAC control functions</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134606211"/>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mn-cs"/>
                        </a:rPr>
                        <a:t>– </a:t>
                      </a:r>
                      <a:r>
                        <a:rPr kumimoji="0" lang="en-US" sz="1100" b="0" i="0" u="none" strike="noStrike" kern="1200" cap="none" spc="0" normalizeH="0" baseline="0" noProof="0" dirty="0">
                          <a:ln>
                            <a:noFill/>
                          </a:ln>
                          <a:solidFill>
                            <a:schemeClr val="tx2">
                              <a:lumMod val="50000"/>
                              <a:lumOff val="50000"/>
                            </a:schemeClr>
                          </a:solidFill>
                          <a:effectLst/>
                          <a:uLnTx/>
                          <a:uFillTx/>
                          <a:latin typeface="+mn-lt"/>
                          <a:ea typeface="+mn-ea"/>
                          <a:cs typeface="Arial" panose="020B0604020202020204" pitchFamily="34" charset="0"/>
                        </a:rPr>
                        <a:t>Time schedule</a:t>
                      </a:r>
                      <a:endParaRPr kumimoji="0" lang="en-US" sz="1100" b="0" i="0" u="none" strike="noStrike" kern="1200" cap="none" spc="0" normalizeH="0" baseline="0" noProof="0" dirty="0">
                        <a:ln>
                          <a:noFill/>
                        </a:ln>
                        <a:solidFill>
                          <a:schemeClr val="tx2">
                            <a:lumMod val="50000"/>
                            <a:lumOff val="50000"/>
                          </a:schemeClr>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151106779"/>
                  </a:ext>
                </a:extLst>
              </a:tr>
              <a:tr h="205325">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kern="1200" dirty="0">
                          <a:solidFill>
                            <a:schemeClr val="tx2">
                              <a:lumMod val="50000"/>
                              <a:lumOff val="50000"/>
                            </a:schemeClr>
                          </a:solidFill>
                          <a:effectLst/>
                          <a:latin typeface="+mn-lt"/>
                          <a:ea typeface="+mn-ea"/>
                          <a:cs typeface="Arial" panose="020B0604020202020204" pitchFamily="34" charset="0"/>
                        </a:rPr>
                        <a:t>Trends &amp; alarms</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756510122"/>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kern="1200" noProof="0" dirty="0">
                          <a:solidFill>
                            <a:schemeClr val="tx2">
                              <a:lumMod val="50000"/>
                              <a:lumOff val="50000"/>
                            </a:schemeClr>
                          </a:solidFill>
                          <a:latin typeface="+mn-lt"/>
                          <a:ea typeface="+mn-ea"/>
                          <a:cs typeface="+mn-cs"/>
                        </a:rPr>
                        <a:t>– Trend logging / Archive</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2992200979"/>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kern="1200" noProof="0" dirty="0">
                          <a:solidFill>
                            <a:schemeClr val="tx2">
                              <a:lumMod val="50000"/>
                              <a:lumOff val="50000"/>
                            </a:schemeClr>
                          </a:solidFill>
                          <a:latin typeface="+mn-lt"/>
                          <a:ea typeface="+mn-ea"/>
                          <a:cs typeface="+mn-cs"/>
                        </a:rPr>
                        <a:t>– Alarming</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756505896"/>
                  </a:ext>
                </a:extLst>
              </a:tr>
              <a:tr h="182974">
                <a:tc>
                  <a:txBody>
                    <a:bodyPr/>
                    <a:lstStyle/>
                    <a:p>
                      <a:pPr marL="0" marR="0" lvl="0" indent="0" algn="l" defTabSz="914400" rtl="0" eaLnBrk="1" fontAlgn="b" latinLnBrk="0" hangingPunct="1">
                        <a:lnSpc>
                          <a:spcPts val="1900"/>
                        </a:lnSpc>
                        <a:spcBef>
                          <a:spcPts val="300"/>
                        </a:spcBef>
                        <a:spcAft>
                          <a:spcPts val="0"/>
                        </a:spcAft>
                        <a:buClrTx/>
                        <a:buSzTx/>
                        <a:buFontTx/>
                        <a:buNone/>
                        <a:tabLst/>
                        <a:defRPr/>
                      </a:pPr>
                      <a:r>
                        <a:rPr lang="en-US" sz="1100" b="1" i="0" u="none" strike="noStrike" kern="1200" dirty="0">
                          <a:solidFill>
                            <a:srgbClr val="000000"/>
                          </a:solidFill>
                          <a:effectLst/>
                          <a:latin typeface="+mn-lt"/>
                          <a:ea typeface="+mn-ea"/>
                          <a:cs typeface="Arial" panose="020B0604020202020204" pitchFamily="34" charset="0"/>
                        </a:rPr>
                        <a:t>Controller HMI</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607076487"/>
                  </a:ext>
                </a:extLst>
              </a:tr>
              <a:tr h="182974">
                <a:tc>
                  <a:txBody>
                    <a:bodyPr/>
                    <a:lstStyle/>
                    <a:p>
                      <a:pPr algn="l" fontAlgn="b"/>
                      <a:r>
                        <a:rPr lang="en-US" sz="1100" dirty="0">
                          <a:solidFill>
                            <a:srgbClr val="2D373C"/>
                          </a:solidFill>
                          <a:latin typeface="+mn-lt"/>
                        </a:rPr>
                        <a:t>– </a:t>
                      </a:r>
                      <a:r>
                        <a:rPr lang="en-US" sz="1100" u="none" strike="noStrike" kern="1200" dirty="0">
                          <a:solidFill>
                            <a:schemeClr val="dk1"/>
                          </a:solidFill>
                          <a:effectLst/>
                          <a:latin typeface="+mn-lt"/>
                          <a:ea typeface="+mn-ea"/>
                          <a:cs typeface="Arial" panose="020B0604020202020204" pitchFamily="34" charset="0"/>
                        </a:rPr>
                        <a:t>Watch page elements</a:t>
                      </a:r>
                      <a:endParaRPr lang="en-US" sz="1100" b="0" i="0" u="none" strike="noStrike" dirty="0">
                        <a:solidFill>
                          <a:srgbClr val="000000"/>
                        </a:solidFill>
                        <a:effectLst/>
                        <a:latin typeface="+mn-lt"/>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102589354"/>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D373C"/>
                          </a:solidFill>
                          <a:effectLst/>
                          <a:uLnTx/>
                          <a:uFillTx/>
                          <a:latin typeface="+mn-lt"/>
                          <a:ea typeface="ＭＳ Ｐゴシック"/>
                          <a:cs typeface="+mn-cs"/>
                        </a:rPr>
                        <a:t>– </a:t>
                      </a:r>
                      <a:r>
                        <a:rPr lang="en-US" sz="1100" u="none" strike="noStrike" kern="1200" noProof="0" dirty="0">
                          <a:solidFill>
                            <a:schemeClr val="dk1"/>
                          </a:solidFill>
                          <a:effectLst/>
                          <a:latin typeface="+mn-lt"/>
                          <a:ea typeface="+mn-ea"/>
                          <a:cs typeface="Arial" panose="020B0604020202020204" pitchFamily="34" charset="0"/>
                        </a:rPr>
                        <a:t>HMI file creation</a:t>
                      </a:r>
                      <a:endParaRPr kumimoji="0" lang="en-US" sz="1100" b="0" i="0" u="none" strike="noStrike" kern="1200" cap="none" spc="0" normalizeH="0" baseline="0" noProof="0" dirty="0">
                        <a:ln>
                          <a:noFill/>
                        </a:ln>
                        <a:solidFill>
                          <a:srgbClr val="000000"/>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1008773668"/>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D373C"/>
                          </a:solidFill>
                          <a:effectLst/>
                          <a:uLnTx/>
                          <a:uFillTx/>
                          <a:latin typeface="+mn-lt"/>
                          <a:ea typeface="ＭＳ Ｐゴシック"/>
                          <a:cs typeface="+mn-cs"/>
                        </a:rPr>
                        <a:t>– </a:t>
                      </a:r>
                      <a:r>
                        <a:rPr kumimoji="0" lang="en-US" sz="11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Security concept</a:t>
                      </a:r>
                      <a:endParaRPr kumimoji="0" lang="en-US" sz="1100" b="0" i="0" u="none" strike="noStrike" kern="1200" cap="none" spc="0" normalizeH="0" baseline="0" noProof="0" dirty="0">
                        <a:ln>
                          <a:noFill/>
                        </a:ln>
                        <a:solidFill>
                          <a:srgbClr val="000000"/>
                        </a:solidFill>
                        <a:effectLst/>
                        <a:uLnTx/>
                        <a:uFillTx/>
                        <a:latin typeface="+mn-lt"/>
                        <a:ea typeface="ＭＳ Ｐゴシック"/>
                        <a:cs typeface="Arial" panose="020B0604020202020204" pitchFamily="34" charset="0"/>
                      </a:endParaRP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3671877292"/>
                  </a:ext>
                </a:extLst>
              </a:tr>
              <a:tr h="1829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1" i="0" u="none" strike="noStrike" kern="1200" dirty="0">
                          <a:solidFill>
                            <a:srgbClr val="000000"/>
                          </a:solidFill>
                          <a:effectLst/>
                          <a:latin typeface="+mn-lt"/>
                          <a:ea typeface="+mn-ea"/>
                          <a:cs typeface="Arial" panose="020B0604020202020204" pitchFamily="34" charset="0"/>
                        </a:rPr>
                        <a:t>Useful Information</a:t>
                      </a:r>
                    </a:p>
                  </a:txBody>
                  <a:tcPr marL="36000" marR="0" marT="36000" marB="36000" anchor="b">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3F3F0"/>
                    </a:solidFill>
                  </a:tcPr>
                </a:tc>
                <a:extLst>
                  <a:ext uri="{0D108BD9-81ED-4DB2-BD59-A6C34878D82A}">
                    <a16:rowId xmlns:a16="http://schemas.microsoft.com/office/drawing/2014/main" val="879626495"/>
                  </a:ext>
                </a:extLst>
              </a:tr>
            </a:tbl>
          </a:graphicData>
        </a:graphic>
      </p:graphicFrame>
    </p:spTree>
    <p:custDataLst>
      <p:tags r:id="rId7"/>
    </p:custDataLst>
  </p:cSld>
  <p:clrMap bg1="lt1" tx1="dk1" bg2="lt2" tx2="dk2" accent1="accent1" accent2="accent2" accent3="accent3" accent4="accent4" accent5="accent5" accent6="accent6" hlink="hlink" folHlink="folHlink"/>
  <p:sldLayoutIdLst>
    <p:sldLayoutId id="2147483693" r:id="rId1"/>
    <p:sldLayoutId id="2147483697" r:id="rId2"/>
    <p:sldLayoutId id="2147483699" r:id="rId3"/>
    <p:sldLayoutId id="2147483701" r:id="rId4"/>
    <p:sldLayoutId id="2147483703" r:id="rId5"/>
  </p:sldLayoutIdLst>
  <p:hf sldNum="0" hdr="0" ftr="0" dt="0"/>
  <p:txStyles>
    <p:titleStyle>
      <a:lvl1pPr algn="l" rtl="0" eaLnBrk="1" fontAlgn="base" hangingPunct="1">
        <a:spcBef>
          <a:spcPct val="0"/>
        </a:spcBef>
        <a:spcAft>
          <a:spcPct val="0"/>
        </a:spcAft>
        <a:defRPr sz="2000" b="1">
          <a:solidFill>
            <a:schemeClr val="dk2"/>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dk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dk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Climatix - Produktsortiment | Original equipment manufacturer (OEM) |  Siemens Global">
            <a:extLst>
              <a:ext uri="{FF2B5EF4-FFF2-40B4-BE49-F238E27FC236}">
                <a16:creationId xmlns:a16="http://schemas.microsoft.com/office/drawing/2014/main" id="{2BE83BA3-87B4-473E-9696-006EE4A0D06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6164" r="37677"/>
          <a:stretch/>
        </p:blipFill>
        <p:spPr bwMode="auto">
          <a:xfrm>
            <a:off x="2160000" y="454634"/>
            <a:ext cx="5265867" cy="640899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1D880FF0-D7A2-436F-8597-A36DC7EBB2F8}"/>
              </a:ext>
            </a:extLst>
          </p:cNvPr>
          <p:cNvSpPr>
            <a:spLocks noChangeArrowheads="1"/>
          </p:cNvSpPr>
          <p:nvPr/>
        </p:nvSpPr>
        <p:spPr bwMode="auto">
          <a:xfrm>
            <a:off x="7460224" y="455232"/>
            <a:ext cx="4983068" cy="6408397"/>
          </a:xfrm>
          <a:prstGeom prst="rect">
            <a:avLst/>
          </a:prstGeom>
          <a:noFill/>
          <a:ln w="9525">
            <a:noFill/>
            <a:miter lim="800000"/>
            <a:headEnd/>
            <a:tailEnd/>
          </a:ln>
        </p:spPr>
        <p:txBody>
          <a:bodyPr lIns="179953" tIns="215944" rIns="395897" bIns="0"/>
          <a:lstStyle/>
          <a:p>
            <a:pPr marL="176160" indent="-176160" algn="l">
              <a:lnSpc>
                <a:spcPct val="110000"/>
              </a:lnSpc>
              <a:spcBef>
                <a:spcPts val="0"/>
              </a:spcBef>
              <a:spcAft>
                <a:spcPts val="900"/>
              </a:spcAft>
              <a:buFont typeface="Wingdings" pitchFamily="2" charset="2"/>
              <a:buChar char="§"/>
            </a:pPr>
            <a:r>
              <a:rPr lang="en-US" sz="2000" dirty="0">
                <a:solidFill>
                  <a:schemeClr val="tx1"/>
                </a:solidFill>
              </a:rPr>
              <a:t>Be able to develop customer-specific HMI application with watch pages</a:t>
            </a:r>
          </a:p>
          <a:p>
            <a:pPr marL="176160" indent="-176160" algn="l">
              <a:lnSpc>
                <a:spcPct val="110000"/>
              </a:lnSpc>
              <a:spcBef>
                <a:spcPts val="0"/>
              </a:spcBef>
              <a:spcAft>
                <a:spcPts val="900"/>
              </a:spcAft>
              <a:buFont typeface="Wingdings" pitchFamily="2" charset="2"/>
              <a:buChar char="§"/>
            </a:pPr>
            <a:r>
              <a:rPr lang="en-US" sz="2000" dirty="0">
                <a:solidFill>
                  <a:schemeClr val="tx1"/>
                </a:solidFill>
              </a:rPr>
              <a:t>Translate the text database to allow the user to switch between languages</a:t>
            </a:r>
          </a:p>
        </p:txBody>
      </p:sp>
      <p:sp>
        <p:nvSpPr>
          <p:cNvPr id="41" name="cdtText Box 4 Id114692">
            <a:extLst>
              <a:ext uri="{FF2B5EF4-FFF2-40B4-BE49-F238E27FC236}">
                <a16:creationId xmlns:a16="http://schemas.microsoft.com/office/drawing/2014/main" id="{B4C37A5A-F98A-4E40-9DA3-A99170117D7A}"/>
              </a:ext>
            </a:extLst>
          </p:cNvPr>
          <p:cNvSpPr txBox="1">
            <a:spLocks noChangeArrowheads="1"/>
          </p:cNvSpPr>
          <p:nvPr/>
        </p:nvSpPr>
        <p:spPr bwMode="gray">
          <a:xfrm>
            <a:off x="2159999" y="0"/>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Controller HMI</a:t>
            </a:r>
          </a:p>
        </p:txBody>
      </p:sp>
      <p:sp>
        <p:nvSpPr>
          <p:cNvPr id="4" name="Title 3">
            <a:extLst>
              <a:ext uri="{FF2B5EF4-FFF2-40B4-BE49-F238E27FC236}">
                <a16:creationId xmlns:a16="http://schemas.microsoft.com/office/drawing/2014/main" id="{A762E143-596F-4131-92D5-FA6EA3FC1046}"/>
              </a:ext>
            </a:extLst>
          </p:cNvPr>
          <p:cNvSpPr>
            <a:spLocks noGrp="1"/>
          </p:cNvSpPr>
          <p:nvPr>
            <p:ph type="title"/>
          </p:nvPr>
        </p:nvSpPr>
        <p:spPr/>
        <p:txBody>
          <a:bodyPr/>
          <a:lstStyle/>
          <a:p>
            <a:r>
              <a:rPr lang="en-US"/>
              <a:t> </a:t>
            </a:r>
          </a:p>
        </p:txBody>
      </p:sp>
      <p:sp>
        <p:nvSpPr>
          <p:cNvPr id="33" name="Textfeld 337">
            <a:extLst>
              <a:ext uri="{FF2B5EF4-FFF2-40B4-BE49-F238E27FC236}">
                <a16:creationId xmlns:a16="http://schemas.microsoft.com/office/drawing/2014/main" id="{A81B02CA-9FA0-4FD4-8535-0329BCC8F0A6}"/>
              </a:ext>
            </a:extLst>
          </p:cNvPr>
          <p:cNvSpPr txBox="1"/>
          <p:nvPr/>
        </p:nvSpPr>
        <p:spPr>
          <a:xfrm>
            <a:off x="0" y="4914079"/>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a:t>Controller HMI</a:t>
            </a:r>
          </a:p>
        </p:txBody>
      </p:sp>
    </p:spTree>
    <p:extLst>
      <p:ext uri="{BB962C8B-B14F-4D97-AF65-F5344CB8AC3E}">
        <p14:creationId xmlns:p14="http://schemas.microsoft.com/office/powerpoint/2010/main" val="106011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6" name="Inhaltsplatzhalter 32">
            <a:extLst>
              <a:ext uri="{FF2B5EF4-FFF2-40B4-BE49-F238E27FC236}">
                <a16:creationId xmlns:a16="http://schemas.microsoft.com/office/drawing/2014/main" id="{FE131B05-8E4E-4D5B-AFC5-636C8FC59EFF}"/>
              </a:ext>
            </a:extLst>
          </p:cNvPr>
          <p:cNvSpPr>
            <a:spLocks noGrp="1" noChangeArrowheads="1"/>
          </p:cNvSpPr>
          <p:nvPr>
            <p:ph sz="half" idx="4294967295"/>
          </p:nvPr>
        </p:nvSpPr>
        <p:spPr>
          <a:xfrm>
            <a:off x="6259676" y="5762465"/>
            <a:ext cx="4249737" cy="1079500"/>
          </a:xfrm>
        </p:spPr>
        <p:txBody>
          <a:bodyPr/>
          <a:lstStyle/>
          <a:p>
            <a:r>
              <a:rPr lang="en-US" altLang="en-US" sz="1400" dirty="0"/>
              <a:t>mapping files to be downloaded on the controller : </a:t>
            </a:r>
          </a:p>
          <a:p>
            <a:pPr>
              <a:buFont typeface="Arial" panose="020B0604020202020204" pitchFamily="34" charset="0"/>
              <a:buChar char="•"/>
            </a:pPr>
            <a:r>
              <a:rPr lang="en-US" altLang="en-US" sz="1400" dirty="0"/>
              <a:t> ObjLang_System.csv</a:t>
            </a:r>
          </a:p>
          <a:p>
            <a:pPr>
              <a:buFont typeface="Arial" panose="020B0604020202020204" pitchFamily="34" charset="0"/>
              <a:buChar char="•"/>
            </a:pPr>
            <a:r>
              <a:rPr lang="en-US" altLang="en-US" sz="1400" dirty="0"/>
              <a:t> ObjLang_Project.csv</a:t>
            </a:r>
          </a:p>
          <a:p>
            <a:pPr>
              <a:buFont typeface="Arial" panose="020B0604020202020204" pitchFamily="34" charset="0"/>
              <a:buChar char="•"/>
            </a:pPr>
            <a:r>
              <a:rPr lang="en-US" altLang="en-US" sz="1400" dirty="0"/>
              <a:t> MemLang_System.csv  / MemLang_Project.csv</a:t>
            </a:r>
          </a:p>
        </p:txBody>
      </p:sp>
      <p:pic>
        <p:nvPicPr>
          <p:cNvPr id="5127" name="Picture 3">
            <a:extLst>
              <a:ext uri="{FF2B5EF4-FFF2-40B4-BE49-F238E27FC236}">
                <a16:creationId xmlns:a16="http://schemas.microsoft.com/office/drawing/2014/main" id="{5DC19DFF-2860-473D-9ABF-8C29168908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5523" y="545284"/>
            <a:ext cx="8989377" cy="5157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Rechteck 7">
            <a:extLst>
              <a:ext uri="{FF2B5EF4-FFF2-40B4-BE49-F238E27FC236}">
                <a16:creationId xmlns:a16="http://schemas.microsoft.com/office/drawing/2014/main" id="{8AD68ABE-0FA3-408C-9F2F-F7E5BA60A298}"/>
              </a:ext>
            </a:extLst>
          </p:cNvPr>
          <p:cNvSpPr>
            <a:spLocks noChangeArrowheads="1"/>
          </p:cNvSpPr>
          <p:nvPr/>
        </p:nvSpPr>
        <p:spPr bwMode="auto">
          <a:xfrm>
            <a:off x="2275523" y="5858179"/>
            <a:ext cx="3659977" cy="81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dirty="0"/>
              <a:t>Text </a:t>
            </a:r>
            <a:r>
              <a:rPr lang="de-CH" altLang="en-US" dirty="0" err="1"/>
              <a:t>data</a:t>
            </a:r>
            <a:r>
              <a:rPr lang="de-CH" altLang="en-US" dirty="0"/>
              <a:t> </a:t>
            </a:r>
            <a:r>
              <a:rPr lang="de-CH" altLang="en-US" dirty="0" err="1"/>
              <a:t>bank</a:t>
            </a:r>
            <a:r>
              <a:rPr lang="de-CH" altLang="en-US" dirty="0"/>
              <a:t> </a:t>
            </a:r>
            <a:r>
              <a:rPr lang="de-CH" altLang="en-US" dirty="0" err="1"/>
              <a:t>for</a:t>
            </a:r>
            <a:r>
              <a:rPr lang="de-CH" altLang="en-US" dirty="0"/>
              <a:t> </a:t>
            </a:r>
            <a:r>
              <a:rPr lang="de-CH" altLang="en-US" dirty="0" err="1"/>
              <a:t>mapping</a:t>
            </a:r>
            <a:r>
              <a:rPr lang="de-CH" altLang="en-US" dirty="0"/>
              <a:t> </a:t>
            </a:r>
            <a:r>
              <a:rPr lang="de-CH" altLang="en-US" dirty="0" err="1"/>
              <a:t>is</a:t>
            </a:r>
            <a:r>
              <a:rPr lang="de-CH" altLang="en-US" dirty="0"/>
              <a:t> </a:t>
            </a:r>
            <a:r>
              <a:rPr lang="de-CH" altLang="en-US" dirty="0" err="1"/>
              <a:t>the</a:t>
            </a:r>
            <a:r>
              <a:rPr lang="de-CH" altLang="en-US" dirty="0"/>
              <a:t> </a:t>
            </a:r>
          </a:p>
          <a:p>
            <a:pPr eaLnBrk="1" hangingPunct="1">
              <a:buClr>
                <a:schemeClr val="accent1"/>
              </a:buClr>
            </a:pPr>
            <a:r>
              <a:rPr lang="de-CH" altLang="en-US" dirty="0" err="1"/>
              <a:t>translation</a:t>
            </a:r>
            <a:r>
              <a:rPr lang="de-CH" altLang="en-US" dirty="0"/>
              <a:t> source </a:t>
            </a:r>
            <a:r>
              <a:rPr lang="de-CH" altLang="en-US" dirty="0" err="1"/>
              <a:t>of</a:t>
            </a:r>
            <a:r>
              <a:rPr lang="de-CH" altLang="en-US" dirty="0"/>
              <a:t> </a:t>
            </a:r>
            <a:r>
              <a:rPr lang="de-CH" altLang="en-US" dirty="0" err="1"/>
              <a:t>the</a:t>
            </a:r>
            <a:r>
              <a:rPr lang="de-CH" altLang="en-US" dirty="0"/>
              <a:t> </a:t>
            </a:r>
            <a:r>
              <a:rPr lang="de-CH" altLang="en-US" dirty="0" err="1"/>
              <a:t>controller</a:t>
            </a:r>
            <a:endParaRPr lang="de-DE" altLang="en-US" dirty="0"/>
          </a:p>
        </p:txBody>
      </p:sp>
      <p:sp>
        <p:nvSpPr>
          <p:cNvPr id="5129" name="Geschweifte Klammer rechts 8">
            <a:extLst>
              <a:ext uri="{FF2B5EF4-FFF2-40B4-BE49-F238E27FC236}">
                <a16:creationId xmlns:a16="http://schemas.microsoft.com/office/drawing/2014/main" id="{C83BE3F8-AC7B-4966-ABF2-E180EA09C4ED}"/>
              </a:ext>
            </a:extLst>
          </p:cNvPr>
          <p:cNvSpPr>
            <a:spLocks/>
          </p:cNvSpPr>
          <p:nvPr/>
        </p:nvSpPr>
        <p:spPr bwMode="auto">
          <a:xfrm>
            <a:off x="5877955" y="5798184"/>
            <a:ext cx="288925" cy="1008062"/>
          </a:xfrm>
          <a:prstGeom prst="rightBrace">
            <a:avLst>
              <a:gd name="adj1" fmla="val 8303"/>
              <a:gd name="adj2" fmla="val 50000"/>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buFont typeface="Wingdings" panose="05000000000000000000" pitchFamily="2" charset="2"/>
              <a:buChar char="§"/>
            </a:pPr>
            <a:endParaRPr lang="en-US" altLang="en-US"/>
          </a:p>
        </p:txBody>
      </p:sp>
      <p:sp>
        <p:nvSpPr>
          <p:cNvPr id="10" name="cdtText Box 4 Id114692">
            <a:extLst>
              <a:ext uri="{FF2B5EF4-FFF2-40B4-BE49-F238E27FC236}">
                <a16:creationId xmlns:a16="http://schemas.microsoft.com/office/drawing/2014/main" id="{40E91EB9-E802-4F2F-9A04-62A855397C43}"/>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a:solidFill>
                  <a:schemeClr val="bg1"/>
                </a:solidFill>
              </a:rPr>
              <a:t>Language Support Overview Language Mapping files </a:t>
            </a:r>
          </a:p>
        </p:txBody>
      </p:sp>
    </p:spTree>
    <p:extLst>
      <p:ext uri="{BB962C8B-B14F-4D97-AF65-F5344CB8AC3E}">
        <p14:creationId xmlns:p14="http://schemas.microsoft.com/office/powerpoint/2010/main" val="197634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7" name="Inhaltsplatzhalter 3">
            <a:extLst>
              <a:ext uri="{FF2B5EF4-FFF2-40B4-BE49-F238E27FC236}">
                <a16:creationId xmlns:a16="http://schemas.microsoft.com/office/drawing/2014/main" id="{0D95384E-0B5A-4E43-A938-D51CB6A56286}"/>
              </a:ext>
            </a:extLst>
          </p:cNvPr>
          <p:cNvSpPr>
            <a:spLocks noGrp="1" noChangeArrowheads="1"/>
          </p:cNvSpPr>
          <p:nvPr>
            <p:ph sz="half" idx="4294967295"/>
          </p:nvPr>
        </p:nvSpPr>
        <p:spPr>
          <a:xfrm>
            <a:off x="2361123" y="4926125"/>
            <a:ext cx="9307195" cy="1295400"/>
          </a:xfrm>
        </p:spPr>
        <p:txBody>
          <a:bodyPr/>
          <a:lstStyle/>
          <a:p>
            <a:pPr>
              <a:buFont typeface="Arial" panose="020B0604020202020204" pitchFamily="34" charset="0"/>
              <a:buChar char="•"/>
            </a:pPr>
            <a:r>
              <a:rPr lang="de-CH" altLang="en-US" dirty="0"/>
              <a:t> </a:t>
            </a:r>
            <a:r>
              <a:rPr lang="en-US" altLang="en-US" dirty="0"/>
              <a:t>Each language item has a key and represents a row in </a:t>
            </a:r>
            <a:r>
              <a:rPr lang="de-CH" altLang="en-US" dirty="0" err="1"/>
              <a:t>GlobalText</a:t>
            </a:r>
            <a:r>
              <a:rPr lang="de-CH" altLang="en-US" dirty="0"/>
              <a:t> and </a:t>
            </a:r>
            <a:r>
              <a:rPr lang="de-CH" altLang="en-US" dirty="0" err="1"/>
              <a:t>ProjectText</a:t>
            </a:r>
            <a:r>
              <a:rPr lang="de-CH" altLang="en-US" dirty="0"/>
              <a:t> </a:t>
            </a:r>
            <a:r>
              <a:rPr lang="de-CH" altLang="en-US" dirty="0" err="1"/>
              <a:t>file</a:t>
            </a:r>
            <a:endParaRPr lang="de-CH" altLang="en-US" dirty="0"/>
          </a:p>
          <a:p>
            <a:pPr>
              <a:buFont typeface="Arial" panose="020B0604020202020204" pitchFamily="34" charset="0"/>
              <a:buChar char="•"/>
            </a:pPr>
            <a:r>
              <a:rPr lang="en-US" altLang="en-US" dirty="0"/>
              <a:t> Each column represents a translation in a different language</a:t>
            </a:r>
          </a:p>
          <a:p>
            <a:pPr>
              <a:buFont typeface="Arial" panose="020B0604020202020204" pitchFamily="34" charset="0"/>
              <a:buChar char="•"/>
            </a:pPr>
            <a:r>
              <a:rPr lang="en-US" altLang="en-US" dirty="0"/>
              <a:t> Project specific items should be defined in the </a:t>
            </a:r>
            <a:r>
              <a:rPr lang="en-US" altLang="en-US" dirty="0" err="1"/>
              <a:t>ProjectText</a:t>
            </a:r>
            <a:r>
              <a:rPr lang="en-US" altLang="en-US" dirty="0"/>
              <a:t> file</a:t>
            </a:r>
          </a:p>
          <a:p>
            <a:pPr>
              <a:buFont typeface="Arial" panose="020B0604020202020204" pitchFamily="34" charset="0"/>
              <a:buChar char="•"/>
            </a:pPr>
            <a:r>
              <a:rPr lang="en-US" altLang="en-US" dirty="0"/>
              <a:t> In case of same Key in </a:t>
            </a:r>
            <a:r>
              <a:rPr lang="en-US" altLang="en-US" dirty="0" err="1"/>
              <a:t>GlobalText</a:t>
            </a:r>
            <a:r>
              <a:rPr lang="en-US" altLang="en-US" dirty="0"/>
              <a:t> and </a:t>
            </a:r>
            <a:r>
              <a:rPr lang="en-US" altLang="en-US" dirty="0" err="1"/>
              <a:t>ProjectText</a:t>
            </a:r>
            <a:r>
              <a:rPr lang="en-US" altLang="en-US" dirty="0"/>
              <a:t> the one in the </a:t>
            </a:r>
            <a:r>
              <a:rPr lang="en-US" altLang="en-US" dirty="0" err="1"/>
              <a:t>ProjectText</a:t>
            </a:r>
            <a:r>
              <a:rPr lang="en-US" altLang="en-US" dirty="0"/>
              <a:t> file is valid</a:t>
            </a:r>
            <a:endParaRPr lang="de-CH" altLang="en-US" dirty="0"/>
          </a:p>
          <a:p>
            <a:pPr>
              <a:buFont typeface="Arial" panose="020B0604020202020204" pitchFamily="34" charset="0"/>
              <a:buChar char="•"/>
            </a:pPr>
            <a:endParaRPr lang="de-CH" altLang="en-US" dirty="0"/>
          </a:p>
          <a:p>
            <a:endParaRPr lang="de-DE" altLang="en-US" dirty="0"/>
          </a:p>
        </p:txBody>
      </p:sp>
      <p:grpSp>
        <p:nvGrpSpPr>
          <p:cNvPr id="6151" name="Gruppieren 33">
            <a:extLst>
              <a:ext uri="{FF2B5EF4-FFF2-40B4-BE49-F238E27FC236}">
                <a16:creationId xmlns:a16="http://schemas.microsoft.com/office/drawing/2014/main" id="{AF87CEEE-4E93-424D-B5FE-33DC21895A1B}"/>
              </a:ext>
            </a:extLst>
          </p:cNvPr>
          <p:cNvGrpSpPr>
            <a:grpSpLocks/>
          </p:cNvGrpSpPr>
          <p:nvPr/>
        </p:nvGrpSpPr>
        <p:grpSpPr bwMode="auto">
          <a:xfrm>
            <a:off x="2289451" y="655460"/>
            <a:ext cx="3240087" cy="4090292"/>
            <a:chOff x="323726" y="1341438"/>
            <a:chExt cx="3240734" cy="4090346"/>
          </a:xfrm>
        </p:grpSpPr>
        <p:grpSp>
          <p:nvGrpSpPr>
            <p:cNvPr id="6154" name="Gruppieren 28">
              <a:extLst>
                <a:ext uri="{FF2B5EF4-FFF2-40B4-BE49-F238E27FC236}">
                  <a16:creationId xmlns:a16="http://schemas.microsoft.com/office/drawing/2014/main" id="{7208029E-84E6-435A-BFAA-B15F074876D7}"/>
                </a:ext>
              </a:extLst>
            </p:cNvPr>
            <p:cNvGrpSpPr>
              <a:grpSpLocks/>
            </p:cNvGrpSpPr>
            <p:nvPr/>
          </p:nvGrpSpPr>
          <p:grpSpPr bwMode="auto">
            <a:xfrm>
              <a:off x="323726" y="1341438"/>
              <a:ext cx="2553842" cy="2592288"/>
              <a:chOff x="323850" y="1341439"/>
              <a:chExt cx="2553842" cy="2593139"/>
            </a:xfrm>
          </p:grpSpPr>
          <p:grpSp>
            <p:nvGrpSpPr>
              <p:cNvPr id="6156" name="Gruppieren 24">
                <a:extLst>
                  <a:ext uri="{FF2B5EF4-FFF2-40B4-BE49-F238E27FC236}">
                    <a16:creationId xmlns:a16="http://schemas.microsoft.com/office/drawing/2014/main" id="{E5C9CC11-41B1-434B-BE58-F2A0148A59AC}"/>
                  </a:ext>
                </a:extLst>
              </p:cNvPr>
              <p:cNvGrpSpPr>
                <a:grpSpLocks/>
              </p:cNvGrpSpPr>
              <p:nvPr/>
            </p:nvGrpSpPr>
            <p:grpSpPr bwMode="auto">
              <a:xfrm>
                <a:off x="323850" y="1341439"/>
                <a:ext cx="2553842" cy="2519610"/>
                <a:chOff x="323850" y="1341438"/>
                <a:chExt cx="2909318" cy="2808287"/>
              </a:xfrm>
            </p:grpSpPr>
            <p:grpSp>
              <p:nvGrpSpPr>
                <p:cNvPr id="6158" name="Gruppieren 22">
                  <a:extLst>
                    <a:ext uri="{FF2B5EF4-FFF2-40B4-BE49-F238E27FC236}">
                      <a16:creationId xmlns:a16="http://schemas.microsoft.com/office/drawing/2014/main" id="{560EBA98-33AF-435D-9FEC-48527E86F091}"/>
                    </a:ext>
                  </a:extLst>
                </p:cNvPr>
                <p:cNvGrpSpPr>
                  <a:grpSpLocks/>
                </p:cNvGrpSpPr>
                <p:nvPr/>
              </p:nvGrpSpPr>
              <p:grpSpPr bwMode="auto">
                <a:xfrm>
                  <a:off x="323850" y="1341438"/>
                  <a:ext cx="1727200" cy="1223962"/>
                  <a:chOff x="827584" y="1772816"/>
                  <a:chExt cx="1728192" cy="1224136"/>
                </a:xfrm>
              </p:grpSpPr>
              <p:sp>
                <p:nvSpPr>
                  <p:cNvPr id="6168" name="Ellipse 15">
                    <a:extLst>
                      <a:ext uri="{FF2B5EF4-FFF2-40B4-BE49-F238E27FC236}">
                        <a16:creationId xmlns:a16="http://schemas.microsoft.com/office/drawing/2014/main" id="{6E8C58BE-E5FA-4B40-A5D2-766CB8C08DEB}"/>
                      </a:ext>
                    </a:extLst>
                  </p:cNvPr>
                  <p:cNvSpPr>
                    <a:spLocks noChangeArrowheads="1"/>
                  </p:cNvSpPr>
                  <p:nvPr/>
                </p:nvSpPr>
                <p:spPr bwMode="auto">
                  <a:xfrm>
                    <a:off x="827584" y="1772816"/>
                    <a:ext cx="1728192" cy="1224136"/>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buFont typeface="Wingdings" panose="05000000000000000000" pitchFamily="2" charset="2"/>
                      <a:buChar char="§"/>
                    </a:pPr>
                    <a:endParaRPr lang="en-US" altLang="en-US"/>
                  </a:p>
                </p:txBody>
              </p:sp>
              <p:sp>
                <p:nvSpPr>
                  <p:cNvPr id="6169" name="Textfeld 16">
                    <a:extLst>
                      <a:ext uri="{FF2B5EF4-FFF2-40B4-BE49-F238E27FC236}">
                        <a16:creationId xmlns:a16="http://schemas.microsoft.com/office/drawing/2014/main" id="{B9E800A4-0B8E-4BC4-B99E-DF05B8B76B2F}"/>
                      </a:ext>
                    </a:extLst>
                  </p:cNvPr>
                  <p:cNvSpPr txBox="1">
                    <a:spLocks noChangeArrowheads="1"/>
                  </p:cNvSpPr>
                  <p:nvPr/>
                </p:nvSpPr>
                <p:spPr bwMode="auto">
                  <a:xfrm>
                    <a:off x="991373" y="2013625"/>
                    <a:ext cx="1343093" cy="311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pPr>
                    <a:r>
                      <a:rPr lang="de-CH" altLang="en-US" sz="1200" b="1" dirty="0"/>
                      <a:t>OEM Project:</a:t>
                    </a:r>
                    <a:endParaRPr lang="de-DE" altLang="en-US" sz="1200" b="1" dirty="0"/>
                  </a:p>
                </p:txBody>
              </p:sp>
              <p:sp>
                <p:nvSpPr>
                  <p:cNvPr id="6170" name="Textfeld 17">
                    <a:extLst>
                      <a:ext uri="{FF2B5EF4-FFF2-40B4-BE49-F238E27FC236}">
                        <a16:creationId xmlns:a16="http://schemas.microsoft.com/office/drawing/2014/main" id="{63E5DEDA-A3B8-4CB7-A451-E05CA30FF0B5}"/>
                      </a:ext>
                    </a:extLst>
                  </p:cNvPr>
                  <p:cNvSpPr txBox="1">
                    <a:spLocks noChangeArrowheads="1"/>
                  </p:cNvSpPr>
                  <p:nvPr/>
                </p:nvSpPr>
                <p:spPr bwMode="auto">
                  <a:xfrm>
                    <a:off x="991373" y="2414972"/>
                    <a:ext cx="1368152" cy="311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pPr>
                    <a:r>
                      <a:rPr lang="de-CH" altLang="en-US" sz="1200"/>
                      <a:t>GlobalText.csv</a:t>
                    </a:r>
                    <a:endParaRPr lang="de-DE" altLang="en-US" sz="1200"/>
                  </a:p>
                </p:txBody>
              </p:sp>
            </p:grpSp>
            <p:grpSp>
              <p:nvGrpSpPr>
                <p:cNvPr id="6159" name="Gruppieren 23">
                  <a:extLst>
                    <a:ext uri="{FF2B5EF4-FFF2-40B4-BE49-F238E27FC236}">
                      <a16:creationId xmlns:a16="http://schemas.microsoft.com/office/drawing/2014/main" id="{C9968FDC-67F7-48DD-A6C7-A96056EC2348}"/>
                    </a:ext>
                  </a:extLst>
                </p:cNvPr>
                <p:cNvGrpSpPr>
                  <a:grpSpLocks/>
                </p:cNvGrpSpPr>
                <p:nvPr/>
              </p:nvGrpSpPr>
              <p:grpSpPr bwMode="auto">
                <a:xfrm>
                  <a:off x="395288" y="2924175"/>
                  <a:ext cx="1732878" cy="1225550"/>
                  <a:chOff x="827584" y="3356992"/>
                  <a:chExt cx="1732281" cy="1224136"/>
                </a:xfrm>
              </p:grpSpPr>
              <p:sp>
                <p:nvSpPr>
                  <p:cNvPr id="6165" name="Ellipse 19">
                    <a:extLst>
                      <a:ext uri="{FF2B5EF4-FFF2-40B4-BE49-F238E27FC236}">
                        <a16:creationId xmlns:a16="http://schemas.microsoft.com/office/drawing/2014/main" id="{4444CFD0-B195-4F41-AEAD-87E39ECC3D17}"/>
                      </a:ext>
                    </a:extLst>
                  </p:cNvPr>
                  <p:cNvSpPr>
                    <a:spLocks noChangeArrowheads="1"/>
                  </p:cNvSpPr>
                  <p:nvPr/>
                </p:nvSpPr>
                <p:spPr bwMode="auto">
                  <a:xfrm>
                    <a:off x="827584" y="3356992"/>
                    <a:ext cx="1728192" cy="1224136"/>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buFont typeface="Wingdings" panose="05000000000000000000" pitchFamily="2" charset="2"/>
                      <a:buChar char="§"/>
                    </a:pPr>
                    <a:endParaRPr lang="en-US" altLang="en-US"/>
                  </a:p>
                </p:txBody>
              </p:sp>
              <p:sp>
                <p:nvSpPr>
                  <p:cNvPr id="6166" name="Textfeld 20">
                    <a:extLst>
                      <a:ext uri="{FF2B5EF4-FFF2-40B4-BE49-F238E27FC236}">
                        <a16:creationId xmlns:a16="http://schemas.microsoft.com/office/drawing/2014/main" id="{17E8650C-D5FD-4740-A954-6C72F25DECF9}"/>
                      </a:ext>
                    </a:extLst>
                  </p:cNvPr>
                  <p:cNvSpPr txBox="1">
                    <a:spLocks noChangeArrowheads="1"/>
                  </p:cNvSpPr>
                  <p:nvPr/>
                </p:nvSpPr>
                <p:spPr bwMode="auto">
                  <a:xfrm>
                    <a:off x="919810" y="3619888"/>
                    <a:ext cx="1640055" cy="311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pPr>
                    <a:r>
                      <a:rPr lang="de-CH" altLang="en-US" sz="1200" b="1"/>
                      <a:t>SCOEP Project:</a:t>
                    </a:r>
                    <a:endParaRPr lang="de-DE" altLang="en-US" sz="1200" b="1"/>
                  </a:p>
                </p:txBody>
              </p:sp>
              <p:sp>
                <p:nvSpPr>
                  <p:cNvPr id="6167" name="Textfeld 21">
                    <a:extLst>
                      <a:ext uri="{FF2B5EF4-FFF2-40B4-BE49-F238E27FC236}">
                        <a16:creationId xmlns:a16="http://schemas.microsoft.com/office/drawing/2014/main" id="{C7035FC3-7126-48E9-87D3-9FA7532CFF40}"/>
                      </a:ext>
                    </a:extLst>
                  </p:cNvPr>
                  <p:cNvSpPr txBox="1">
                    <a:spLocks noChangeArrowheads="1"/>
                  </p:cNvSpPr>
                  <p:nvPr/>
                </p:nvSpPr>
                <p:spPr bwMode="auto">
                  <a:xfrm>
                    <a:off x="971600" y="4005064"/>
                    <a:ext cx="1440160" cy="31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pPr>
                    <a:r>
                      <a:rPr lang="de-CH" altLang="en-US" sz="1200" dirty="0"/>
                      <a:t>ProjectText.csv</a:t>
                    </a:r>
                    <a:endParaRPr lang="de-DE" altLang="en-US" sz="1200" dirty="0"/>
                  </a:p>
                </p:txBody>
              </p:sp>
            </p:grpSp>
            <p:grpSp>
              <p:nvGrpSpPr>
                <p:cNvPr id="6160" name="Gruppieren 28">
                  <a:extLst>
                    <a:ext uri="{FF2B5EF4-FFF2-40B4-BE49-F238E27FC236}">
                      <a16:creationId xmlns:a16="http://schemas.microsoft.com/office/drawing/2014/main" id="{C4A68E36-B297-4FC8-B1A0-C4318D5815AF}"/>
                    </a:ext>
                  </a:extLst>
                </p:cNvPr>
                <p:cNvGrpSpPr>
                  <a:grpSpLocks/>
                </p:cNvGrpSpPr>
                <p:nvPr/>
              </p:nvGrpSpPr>
              <p:grpSpPr bwMode="auto">
                <a:xfrm>
                  <a:off x="2297112" y="2349500"/>
                  <a:ext cx="936056" cy="719138"/>
                  <a:chOff x="2296319" y="2708920"/>
                  <a:chExt cx="936104" cy="720080"/>
                </a:xfrm>
              </p:grpSpPr>
              <p:sp>
                <p:nvSpPr>
                  <p:cNvPr id="6163" name="Ellipse 26">
                    <a:extLst>
                      <a:ext uri="{FF2B5EF4-FFF2-40B4-BE49-F238E27FC236}">
                        <a16:creationId xmlns:a16="http://schemas.microsoft.com/office/drawing/2014/main" id="{3DB3AF57-3B26-4815-B692-BCF49E192D1D}"/>
                      </a:ext>
                    </a:extLst>
                  </p:cNvPr>
                  <p:cNvSpPr>
                    <a:spLocks noChangeArrowheads="1"/>
                  </p:cNvSpPr>
                  <p:nvPr/>
                </p:nvSpPr>
                <p:spPr bwMode="auto">
                  <a:xfrm>
                    <a:off x="2296319" y="2708920"/>
                    <a:ext cx="936104" cy="720080"/>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buFont typeface="Wingdings" panose="05000000000000000000" pitchFamily="2" charset="2"/>
                      <a:buChar char="§"/>
                    </a:pPr>
                    <a:endParaRPr lang="en-US" altLang="en-US"/>
                  </a:p>
                </p:txBody>
              </p:sp>
              <p:sp>
                <p:nvSpPr>
                  <p:cNvPr id="6164" name="Rechteck 27">
                    <a:extLst>
                      <a:ext uri="{FF2B5EF4-FFF2-40B4-BE49-F238E27FC236}">
                        <a16:creationId xmlns:a16="http://schemas.microsoft.com/office/drawing/2014/main" id="{F7D08C74-E1E4-41C9-A234-7766F30B0843}"/>
                      </a:ext>
                    </a:extLst>
                  </p:cNvPr>
                  <p:cNvSpPr>
                    <a:spLocks noChangeArrowheads="1"/>
                  </p:cNvSpPr>
                  <p:nvPr/>
                </p:nvSpPr>
                <p:spPr bwMode="auto">
                  <a:xfrm>
                    <a:off x="2411761" y="2924945"/>
                    <a:ext cx="782061" cy="312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pPr>
                    <a:r>
                      <a:rPr lang="en-US" altLang="en-US" sz="1200"/>
                      <a:t>Merge</a:t>
                    </a:r>
                  </a:p>
                </p:txBody>
              </p:sp>
            </p:grpSp>
            <p:cxnSp>
              <p:nvCxnSpPr>
                <p:cNvPr id="6161" name="Gerade Verbindung mit Pfeil 30">
                  <a:extLst>
                    <a:ext uri="{FF2B5EF4-FFF2-40B4-BE49-F238E27FC236}">
                      <a16:creationId xmlns:a16="http://schemas.microsoft.com/office/drawing/2014/main" id="{3B2DAC9B-80FF-4510-91CB-A3AB698FC659}"/>
                    </a:ext>
                  </a:extLst>
                </p:cNvPr>
                <p:cNvCxnSpPr>
                  <a:cxnSpLocks noChangeShapeType="1"/>
                </p:cNvCxnSpPr>
                <p:nvPr/>
              </p:nvCxnSpPr>
              <p:spPr bwMode="auto">
                <a:xfrm>
                  <a:off x="2051050" y="2205038"/>
                  <a:ext cx="288925" cy="215900"/>
                </a:xfrm>
                <a:prstGeom prst="straightConnector1">
                  <a:avLst/>
                </a:prstGeom>
                <a:noFill/>
                <a:ln w="19050" algn="ctr">
                  <a:solidFill>
                    <a:srgbClr val="C00000"/>
                  </a:solidFill>
                  <a:round/>
                  <a:headEnd/>
                  <a:tailEnd type="arrow" w="med" len="med"/>
                </a:ln>
                <a:extLst>
                  <a:ext uri="{909E8E84-426E-40DD-AFC4-6F175D3DCCD1}">
                    <a14:hiddenFill xmlns:a14="http://schemas.microsoft.com/office/drawing/2010/main">
                      <a:noFill/>
                    </a14:hiddenFill>
                  </a:ext>
                </a:extLst>
              </p:spPr>
            </p:cxnSp>
            <p:cxnSp>
              <p:nvCxnSpPr>
                <p:cNvPr id="6162" name="Gerade Verbindung mit Pfeil 31">
                  <a:extLst>
                    <a:ext uri="{FF2B5EF4-FFF2-40B4-BE49-F238E27FC236}">
                      <a16:creationId xmlns:a16="http://schemas.microsoft.com/office/drawing/2014/main" id="{B98A1A25-26F5-43D7-89CD-2EDFD948B354}"/>
                    </a:ext>
                  </a:extLst>
                </p:cNvPr>
                <p:cNvCxnSpPr>
                  <a:cxnSpLocks noChangeShapeType="1"/>
                </p:cNvCxnSpPr>
                <p:nvPr/>
              </p:nvCxnSpPr>
              <p:spPr bwMode="auto">
                <a:xfrm flipV="1">
                  <a:off x="2124075" y="3068638"/>
                  <a:ext cx="287338" cy="215900"/>
                </a:xfrm>
                <a:prstGeom prst="straightConnector1">
                  <a:avLst/>
                </a:prstGeom>
                <a:noFill/>
                <a:ln w="19050" algn="ctr">
                  <a:solidFill>
                    <a:srgbClr val="C00000"/>
                  </a:solidFill>
                  <a:round/>
                  <a:headEnd/>
                  <a:tailEnd type="arrow" w="med" len="med"/>
                </a:ln>
                <a:extLst>
                  <a:ext uri="{909E8E84-426E-40DD-AFC4-6F175D3DCCD1}">
                    <a14:hiddenFill xmlns:a14="http://schemas.microsoft.com/office/drawing/2010/main">
                      <a:noFill/>
                    </a14:hiddenFill>
                  </a:ext>
                </a:extLst>
              </p:spPr>
            </p:cxnSp>
          </p:grpSp>
          <p:cxnSp>
            <p:nvCxnSpPr>
              <p:cNvPr id="6157" name="Gerade Verbindung mit Pfeil 33">
                <a:extLst>
                  <a:ext uri="{FF2B5EF4-FFF2-40B4-BE49-F238E27FC236}">
                    <a16:creationId xmlns:a16="http://schemas.microsoft.com/office/drawing/2014/main" id="{1328BB37-6263-4DEB-BC85-87CC9E2E948F}"/>
                  </a:ext>
                </a:extLst>
              </p:cNvPr>
              <p:cNvCxnSpPr>
                <a:cxnSpLocks noChangeShapeType="1"/>
              </p:cNvCxnSpPr>
              <p:nvPr/>
            </p:nvCxnSpPr>
            <p:spPr bwMode="auto">
              <a:xfrm>
                <a:off x="2555776" y="2924944"/>
                <a:ext cx="0" cy="1009634"/>
              </a:xfrm>
              <a:prstGeom prst="straightConnector1">
                <a:avLst/>
              </a:prstGeom>
              <a:noFill/>
              <a:ln w="19050" algn="ctr">
                <a:solidFill>
                  <a:srgbClr val="C00000"/>
                </a:solidFill>
                <a:round/>
                <a:headEnd/>
                <a:tailEnd type="arrow" w="med" len="med"/>
              </a:ln>
              <a:extLst>
                <a:ext uri="{909E8E84-426E-40DD-AFC4-6F175D3DCCD1}">
                  <a14:hiddenFill xmlns:a14="http://schemas.microsoft.com/office/drawing/2010/main">
                    <a:noFill/>
                  </a14:hiddenFill>
                </a:ext>
              </a:extLst>
            </p:spPr>
          </p:cxnSp>
        </p:grpSp>
        <p:sp>
          <p:nvSpPr>
            <p:cNvPr id="6155" name="Textfeld 41">
              <a:extLst>
                <a:ext uri="{FF2B5EF4-FFF2-40B4-BE49-F238E27FC236}">
                  <a16:creationId xmlns:a16="http://schemas.microsoft.com/office/drawing/2014/main" id="{12C76459-181E-4732-81A2-94A2C7F3AB47}"/>
                </a:ext>
              </a:extLst>
            </p:cNvPr>
            <p:cNvSpPr txBox="1">
              <a:spLocks noChangeArrowheads="1"/>
            </p:cNvSpPr>
            <p:nvPr/>
          </p:nvSpPr>
          <p:spPr bwMode="auto">
            <a:xfrm>
              <a:off x="395412" y="4005734"/>
              <a:ext cx="3169048" cy="14260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pPr>
              <a:r>
                <a:rPr lang="de-CH" altLang="en-US"/>
                <a:t>Text data bank for mapping (SCOPE): </a:t>
              </a:r>
            </a:p>
            <a:p>
              <a:pPr eaLnBrk="1" hangingPunct="1">
                <a:buClr>
                  <a:schemeClr val="accent1"/>
                </a:buClr>
              </a:pPr>
              <a:r>
                <a:rPr lang="de-CH" altLang="en-US"/>
                <a:t>Mapping Support </a:t>
              </a:r>
              <a:r>
                <a:rPr lang="de-CH" altLang="en-US">
                  <a:sym typeface="Wingdings" panose="05000000000000000000" pitchFamily="2" charset="2"/>
                </a:rPr>
                <a:t> Global Text tab</a:t>
              </a:r>
              <a:endParaRPr lang="de-DE" altLang="en-US"/>
            </a:p>
          </p:txBody>
        </p:sp>
      </p:grpSp>
      <p:pic>
        <p:nvPicPr>
          <p:cNvPr id="6152" name="Picture 28">
            <a:extLst>
              <a:ext uri="{FF2B5EF4-FFF2-40B4-BE49-F238E27FC236}">
                <a16:creationId xmlns:a16="http://schemas.microsoft.com/office/drawing/2014/main" id="{C7772B31-7BA2-4087-BE72-1C3DBD3CE92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17999"/>
          <a:stretch>
            <a:fillRect/>
          </a:stretch>
        </p:blipFill>
        <p:spPr bwMode="auto">
          <a:xfrm>
            <a:off x="3909495" y="591656"/>
            <a:ext cx="8285679" cy="644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6153" name="Picture 31">
            <a:extLst>
              <a:ext uri="{FF2B5EF4-FFF2-40B4-BE49-F238E27FC236}">
                <a16:creationId xmlns:a16="http://schemas.microsoft.com/office/drawing/2014/main" id="{8A946C02-0498-459B-A157-B3A57811037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16022" b="-6238"/>
          <a:stretch>
            <a:fillRect/>
          </a:stretch>
        </p:blipFill>
        <p:spPr bwMode="auto">
          <a:xfrm>
            <a:off x="4643047" y="2673538"/>
            <a:ext cx="7440921" cy="465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7" name="cdtText Box 4 Id114692">
            <a:extLst>
              <a:ext uri="{FF2B5EF4-FFF2-40B4-BE49-F238E27FC236}">
                <a16:creationId xmlns:a16="http://schemas.microsoft.com/office/drawing/2014/main" id="{80DE53E7-601D-4AFD-96AB-4D71E0DDE286}"/>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Language Support Text data bank for translation mapping</a:t>
            </a:r>
          </a:p>
        </p:txBody>
      </p:sp>
    </p:spTree>
    <p:extLst>
      <p:ext uri="{BB962C8B-B14F-4D97-AF65-F5344CB8AC3E}">
        <p14:creationId xmlns:p14="http://schemas.microsoft.com/office/powerpoint/2010/main" val="258413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22" name="Rechteck 18">
            <a:extLst>
              <a:ext uri="{FF2B5EF4-FFF2-40B4-BE49-F238E27FC236}">
                <a16:creationId xmlns:a16="http://schemas.microsoft.com/office/drawing/2014/main" id="{8760C227-1E28-4F7C-832C-EED5F3283748}"/>
              </a:ext>
            </a:extLst>
          </p:cNvPr>
          <p:cNvSpPr>
            <a:spLocks noChangeArrowheads="1"/>
          </p:cNvSpPr>
          <p:nvPr/>
        </p:nvSpPr>
        <p:spPr bwMode="auto">
          <a:xfrm>
            <a:off x="15687675" y="1844675"/>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0" tIns="0" rIns="0" bIns="0"/>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eaLnBrk="1" hangingPunct="1">
              <a:buClr>
                <a:schemeClr val="accent1"/>
              </a:buClr>
              <a:buFont typeface="Wingdings" panose="05000000000000000000" pitchFamily="2" charset="2"/>
              <a:buChar char="§"/>
            </a:pPr>
            <a:endParaRPr lang="en-US" altLang="en-US"/>
          </a:p>
        </p:txBody>
      </p:sp>
      <p:sp>
        <p:nvSpPr>
          <p:cNvPr id="9223" name="Rechteck 22">
            <a:extLst>
              <a:ext uri="{FF2B5EF4-FFF2-40B4-BE49-F238E27FC236}">
                <a16:creationId xmlns:a16="http://schemas.microsoft.com/office/drawing/2014/main" id="{5D59B258-C08B-43CB-95CB-677ACE2575E2}"/>
              </a:ext>
            </a:extLst>
          </p:cNvPr>
          <p:cNvSpPr>
            <a:spLocks noChangeArrowheads="1"/>
          </p:cNvSpPr>
          <p:nvPr/>
        </p:nvSpPr>
        <p:spPr bwMode="auto">
          <a:xfrm>
            <a:off x="2322513" y="636994"/>
            <a:ext cx="7058025" cy="34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en-US" altLang="en-US" sz="1600" dirty="0"/>
              <a:t>following table shows the recommended range for certain purposes:</a:t>
            </a:r>
            <a:endParaRPr lang="de-DE" altLang="en-US" sz="1600" dirty="0"/>
          </a:p>
        </p:txBody>
      </p:sp>
      <p:graphicFrame>
        <p:nvGraphicFramePr>
          <p:cNvPr id="24" name="Tabelle 23">
            <a:extLst>
              <a:ext uri="{FF2B5EF4-FFF2-40B4-BE49-F238E27FC236}">
                <a16:creationId xmlns:a16="http://schemas.microsoft.com/office/drawing/2014/main" id="{61DC41C9-DAC1-4127-91B3-975A82AE15C0}"/>
              </a:ext>
            </a:extLst>
          </p:cNvPr>
          <p:cNvGraphicFramePr>
            <a:graphicFrameLocks noGrp="1"/>
          </p:cNvGraphicFramePr>
          <p:nvPr>
            <p:extLst>
              <p:ext uri="{D42A27DB-BD31-4B8C-83A1-F6EECF244321}">
                <p14:modId xmlns:p14="http://schemas.microsoft.com/office/powerpoint/2010/main" val="1693391445"/>
              </p:ext>
            </p:extLst>
          </p:nvPr>
        </p:nvGraphicFramePr>
        <p:xfrm>
          <a:off x="2420937" y="1348740"/>
          <a:ext cx="6096000" cy="3336129"/>
        </p:xfrm>
        <a:graphic>
          <a:graphicData uri="http://schemas.openxmlformats.org/drawingml/2006/table">
            <a:tbl>
              <a:tblPr firstRow="1" bandRow="1">
                <a:tableStyleId>{5C22544A-7EE6-4342-B048-85BDC9FD1C3A}</a:tableStyleId>
              </a:tblPr>
              <a:tblGrid>
                <a:gridCol w="3048000">
                  <a:extLst>
                    <a:ext uri="{9D8B030D-6E8A-4147-A177-3AD203B41FA5}">
                      <a16:colId xmlns:a16="http://schemas.microsoft.com/office/drawing/2014/main" val="20000"/>
                    </a:ext>
                  </a:extLst>
                </a:gridCol>
                <a:gridCol w="3048000">
                  <a:extLst>
                    <a:ext uri="{9D8B030D-6E8A-4147-A177-3AD203B41FA5}">
                      <a16:colId xmlns:a16="http://schemas.microsoft.com/office/drawing/2014/main" val="20001"/>
                    </a:ext>
                  </a:extLst>
                </a:gridCol>
              </a:tblGrid>
              <a:tr h="370681">
                <a:tc>
                  <a:txBody>
                    <a:bodyPr/>
                    <a:lstStyle/>
                    <a:p>
                      <a:r>
                        <a:rPr lang="en-US" sz="1800" noProof="0"/>
                        <a:t>Page Range</a:t>
                      </a:r>
                    </a:p>
                  </a:txBody>
                  <a:tcPr marT="45700" marB="45700"/>
                </a:tc>
                <a:tc>
                  <a:txBody>
                    <a:bodyPr/>
                    <a:lstStyle/>
                    <a:p>
                      <a:r>
                        <a:rPr lang="en-US" sz="1800" noProof="0"/>
                        <a:t>Use Purpose</a:t>
                      </a:r>
                    </a:p>
                  </a:txBody>
                  <a:tcPr marT="45700" marB="45700"/>
                </a:tc>
                <a:extLst>
                  <a:ext uri="{0D108BD9-81ED-4DB2-BD59-A6C34878D82A}">
                    <a16:rowId xmlns:a16="http://schemas.microsoft.com/office/drawing/2014/main" val="10000"/>
                  </a:ext>
                </a:extLst>
              </a:tr>
              <a:tr h="370681">
                <a:tc>
                  <a:txBody>
                    <a:bodyPr/>
                    <a:lstStyle/>
                    <a:p>
                      <a:r>
                        <a:rPr lang="en-US" sz="1800" noProof="0" dirty="0"/>
                        <a:t>21000 -</a:t>
                      </a:r>
                    </a:p>
                  </a:txBody>
                  <a:tcPr marT="45700" marB="45700"/>
                </a:tc>
                <a:tc>
                  <a:txBody>
                    <a:bodyPr/>
                    <a:lstStyle/>
                    <a:p>
                      <a:r>
                        <a:rPr lang="en-US" sz="1800" noProof="0" dirty="0"/>
                        <a:t>Input output points</a:t>
                      </a:r>
                    </a:p>
                  </a:txBody>
                  <a:tcPr marT="45700" marB="45700"/>
                </a:tc>
                <a:extLst>
                  <a:ext uri="{0D108BD9-81ED-4DB2-BD59-A6C34878D82A}">
                    <a16:rowId xmlns:a16="http://schemas.microsoft.com/office/drawing/2014/main" val="3354853144"/>
                  </a:ext>
                </a:extLst>
              </a:tr>
              <a:tr h="370681">
                <a:tc>
                  <a:txBody>
                    <a:bodyPr/>
                    <a:lstStyle/>
                    <a:p>
                      <a:r>
                        <a:rPr lang="en-US" sz="1800" noProof="0" dirty="0"/>
                        <a:t>32000 - </a:t>
                      </a:r>
                    </a:p>
                  </a:txBody>
                  <a:tcPr marT="45700" marB="45700"/>
                </a:tc>
                <a:tc>
                  <a:txBody>
                    <a:bodyPr/>
                    <a:lstStyle/>
                    <a:p>
                      <a:r>
                        <a:rPr lang="en-US" sz="1800" noProof="0" dirty="0"/>
                        <a:t>System Pages</a:t>
                      </a:r>
                    </a:p>
                  </a:txBody>
                  <a:tcPr marT="45700" marB="45700"/>
                </a:tc>
                <a:extLst>
                  <a:ext uri="{0D108BD9-81ED-4DB2-BD59-A6C34878D82A}">
                    <a16:rowId xmlns:a16="http://schemas.microsoft.com/office/drawing/2014/main" val="10001"/>
                  </a:ext>
                </a:extLst>
              </a:tr>
              <a:tr h="370681">
                <a:tc>
                  <a:txBody>
                    <a:bodyPr/>
                    <a:lstStyle/>
                    <a:p>
                      <a:r>
                        <a:rPr lang="en-US" sz="1800" noProof="0"/>
                        <a:t>33000 -</a:t>
                      </a:r>
                    </a:p>
                  </a:txBody>
                  <a:tcPr marT="45700" marB="45700"/>
                </a:tc>
                <a:tc>
                  <a:txBody>
                    <a:bodyPr/>
                    <a:lstStyle/>
                    <a:p>
                      <a:r>
                        <a:rPr lang="en-US" sz="1800" noProof="0"/>
                        <a:t>Communication</a:t>
                      </a:r>
                      <a:r>
                        <a:rPr lang="en-US" sz="1800" baseline="0" noProof="0"/>
                        <a:t> Modules</a:t>
                      </a:r>
                      <a:endParaRPr lang="en-US" sz="1800" noProof="0"/>
                    </a:p>
                  </a:txBody>
                  <a:tcPr marT="45700" marB="45700"/>
                </a:tc>
                <a:extLst>
                  <a:ext uri="{0D108BD9-81ED-4DB2-BD59-A6C34878D82A}">
                    <a16:rowId xmlns:a16="http://schemas.microsoft.com/office/drawing/2014/main" val="10002"/>
                  </a:ext>
                </a:extLst>
              </a:tr>
              <a:tr h="370681">
                <a:tc>
                  <a:txBody>
                    <a:bodyPr/>
                    <a:lstStyle/>
                    <a:p>
                      <a:r>
                        <a:rPr lang="en-US" sz="1800" noProof="0"/>
                        <a:t>64900 - 64909</a:t>
                      </a:r>
                    </a:p>
                  </a:txBody>
                  <a:tcPr marT="45700" marB="45700"/>
                </a:tc>
                <a:tc>
                  <a:txBody>
                    <a:bodyPr/>
                    <a:lstStyle/>
                    <a:p>
                      <a:r>
                        <a:rPr lang="en-US" sz="1800" noProof="0"/>
                        <a:t>Enumeration Scheduler</a:t>
                      </a:r>
                    </a:p>
                  </a:txBody>
                  <a:tcPr marT="45700" marB="45700"/>
                </a:tc>
                <a:extLst>
                  <a:ext uri="{0D108BD9-81ED-4DB2-BD59-A6C34878D82A}">
                    <a16:rowId xmlns:a16="http://schemas.microsoft.com/office/drawing/2014/main" val="10003"/>
                  </a:ext>
                </a:extLst>
              </a:tr>
              <a:tr h="370681">
                <a:tc>
                  <a:txBody>
                    <a:bodyPr/>
                    <a:lstStyle/>
                    <a:p>
                      <a:r>
                        <a:rPr lang="en-US" sz="1800" noProof="0"/>
                        <a:t>64910</a:t>
                      </a:r>
                      <a:r>
                        <a:rPr lang="en-US" sz="1800" baseline="0" noProof="0"/>
                        <a:t> - 64919</a:t>
                      </a:r>
                      <a:endParaRPr lang="en-US" sz="1800" noProof="0"/>
                    </a:p>
                  </a:txBody>
                  <a:tcPr marT="45700" marB="45700"/>
                </a:tc>
                <a:tc>
                  <a:txBody>
                    <a:bodyPr/>
                    <a:lstStyle/>
                    <a:p>
                      <a:r>
                        <a:rPr lang="en-US" sz="1800" noProof="0" err="1"/>
                        <a:t>Setpoint</a:t>
                      </a:r>
                      <a:r>
                        <a:rPr lang="en-US" sz="1800" noProof="0"/>
                        <a:t> Scheduler</a:t>
                      </a:r>
                    </a:p>
                  </a:txBody>
                  <a:tcPr marT="45700" marB="45700"/>
                </a:tc>
                <a:extLst>
                  <a:ext uri="{0D108BD9-81ED-4DB2-BD59-A6C34878D82A}">
                    <a16:rowId xmlns:a16="http://schemas.microsoft.com/office/drawing/2014/main" val="10004"/>
                  </a:ext>
                </a:extLst>
              </a:tr>
              <a:tr h="370681">
                <a:tc>
                  <a:txBody>
                    <a:bodyPr/>
                    <a:lstStyle/>
                    <a:p>
                      <a:r>
                        <a:rPr lang="en-US" sz="1800" noProof="0"/>
                        <a:t>65000 - </a:t>
                      </a:r>
                    </a:p>
                  </a:txBody>
                  <a:tcPr marT="45700" marB="45700"/>
                </a:tc>
                <a:tc>
                  <a:txBody>
                    <a:bodyPr/>
                    <a:lstStyle/>
                    <a:p>
                      <a:r>
                        <a:rPr lang="en-US" sz="1800" noProof="0"/>
                        <a:t>Alarming</a:t>
                      </a:r>
                    </a:p>
                  </a:txBody>
                  <a:tcPr marT="45700" marB="45700"/>
                </a:tc>
                <a:extLst>
                  <a:ext uri="{0D108BD9-81ED-4DB2-BD59-A6C34878D82A}">
                    <a16:rowId xmlns:a16="http://schemas.microsoft.com/office/drawing/2014/main" val="10005"/>
                  </a:ext>
                </a:extLst>
              </a:tr>
              <a:tr h="370681">
                <a:tc>
                  <a:txBody>
                    <a:bodyPr/>
                    <a:lstStyle/>
                    <a:p>
                      <a:r>
                        <a:rPr lang="en-US" sz="1800" noProof="0"/>
                        <a:t>65400 - </a:t>
                      </a:r>
                    </a:p>
                  </a:txBody>
                  <a:tcPr marT="45700" marB="45700"/>
                </a:tc>
                <a:tc>
                  <a:txBody>
                    <a:bodyPr/>
                    <a:lstStyle/>
                    <a:p>
                      <a:r>
                        <a:rPr lang="en-US" sz="1800" noProof="0"/>
                        <a:t>Password Handling</a:t>
                      </a:r>
                    </a:p>
                  </a:txBody>
                  <a:tcPr marT="45700" marB="45700"/>
                </a:tc>
                <a:extLst>
                  <a:ext uri="{0D108BD9-81ED-4DB2-BD59-A6C34878D82A}">
                    <a16:rowId xmlns:a16="http://schemas.microsoft.com/office/drawing/2014/main" val="10006"/>
                  </a:ext>
                </a:extLst>
              </a:tr>
              <a:tr h="370681">
                <a:tc>
                  <a:txBody>
                    <a:bodyPr/>
                    <a:lstStyle/>
                    <a:p>
                      <a:r>
                        <a:rPr lang="en-US" sz="1800" noProof="0"/>
                        <a:t>65500 - 65532</a:t>
                      </a:r>
                    </a:p>
                  </a:txBody>
                  <a:tcPr marT="45700" marB="45700"/>
                </a:tc>
                <a:tc>
                  <a:txBody>
                    <a:bodyPr/>
                    <a:lstStyle/>
                    <a:p>
                      <a:r>
                        <a:rPr lang="en-US" sz="1800" noProof="0" dirty="0"/>
                        <a:t>Iconic</a:t>
                      </a:r>
                      <a:r>
                        <a:rPr lang="en-US" sz="1800" baseline="0" noProof="0" dirty="0"/>
                        <a:t> Pages</a:t>
                      </a:r>
                      <a:endParaRPr lang="en-US" sz="1800" noProof="0" dirty="0"/>
                    </a:p>
                  </a:txBody>
                  <a:tcPr marT="45700" marB="45700"/>
                </a:tc>
                <a:extLst>
                  <a:ext uri="{0D108BD9-81ED-4DB2-BD59-A6C34878D82A}">
                    <a16:rowId xmlns:a16="http://schemas.microsoft.com/office/drawing/2014/main" val="10007"/>
                  </a:ext>
                </a:extLst>
              </a:tr>
            </a:tbl>
          </a:graphicData>
        </a:graphic>
      </p:graphicFrame>
      <p:sp>
        <p:nvSpPr>
          <p:cNvPr id="9" name="cdtText Box 4 Id114692">
            <a:extLst>
              <a:ext uri="{FF2B5EF4-FFF2-40B4-BE49-F238E27FC236}">
                <a16:creationId xmlns:a16="http://schemas.microsoft.com/office/drawing/2014/main" id="{63E4AF9C-9BE2-481C-9F4E-96EAB9FC6B9D}"/>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HMI system pag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dtText Box 4 Id114692">
            <a:extLst>
              <a:ext uri="{FF2B5EF4-FFF2-40B4-BE49-F238E27FC236}">
                <a16:creationId xmlns:a16="http://schemas.microsoft.com/office/drawing/2014/main" id="{78147749-85E7-4110-B55A-DB45D6D85C1A}"/>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Overview of Climatix HMI</a:t>
            </a:r>
          </a:p>
        </p:txBody>
      </p:sp>
      <p:sp>
        <p:nvSpPr>
          <p:cNvPr id="13" name="Rechteck 22">
            <a:extLst>
              <a:ext uri="{FF2B5EF4-FFF2-40B4-BE49-F238E27FC236}">
                <a16:creationId xmlns:a16="http://schemas.microsoft.com/office/drawing/2014/main" id="{3972A43F-EB41-488D-8627-93CE8199840D}"/>
              </a:ext>
            </a:extLst>
          </p:cNvPr>
          <p:cNvSpPr>
            <a:spLocks noChangeArrowheads="1"/>
          </p:cNvSpPr>
          <p:nvPr/>
        </p:nvSpPr>
        <p:spPr bwMode="auto">
          <a:xfrm>
            <a:off x="2215481" y="584370"/>
            <a:ext cx="4946782" cy="200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en-US" altLang="en-US" sz="1600" b="1" dirty="0"/>
              <a:t>The HMI (Human Machine Interface) is needed to monitor and operate the equipment</a:t>
            </a:r>
          </a:p>
          <a:p>
            <a:pPr marL="285750" indent="-285750" algn="l" eaLnBrk="1" hangingPunct="1">
              <a:spcBef>
                <a:spcPts val="600"/>
              </a:spcBef>
              <a:buClr>
                <a:schemeClr val="accent1"/>
              </a:buClr>
              <a:buFont typeface="Arial" panose="020B0604020202020204" pitchFamily="34" charset="0"/>
              <a:buChar char="•"/>
            </a:pPr>
            <a:r>
              <a:rPr lang="en-US" altLang="en-US" sz="1600" dirty="0"/>
              <a:t>View equipment online values</a:t>
            </a:r>
          </a:p>
          <a:p>
            <a:pPr marL="285750" indent="-285750" algn="l" eaLnBrk="1" hangingPunct="1">
              <a:spcBef>
                <a:spcPts val="600"/>
              </a:spcBef>
              <a:buClr>
                <a:schemeClr val="accent1"/>
              </a:buClr>
              <a:buFont typeface="Arial" panose="020B0604020202020204" pitchFamily="34" charset="0"/>
              <a:buChar char="•"/>
            </a:pPr>
            <a:r>
              <a:rPr lang="en-US" altLang="en-US" sz="1600" dirty="0"/>
              <a:t>Change set points, set up scheduler</a:t>
            </a:r>
          </a:p>
          <a:p>
            <a:pPr marL="285750" indent="-285750" algn="l" eaLnBrk="1" hangingPunct="1">
              <a:spcBef>
                <a:spcPts val="600"/>
              </a:spcBef>
              <a:buClr>
                <a:schemeClr val="accent1"/>
              </a:buClr>
              <a:buFont typeface="Arial" panose="020B0604020202020204" pitchFamily="34" charset="0"/>
              <a:buChar char="•"/>
            </a:pPr>
            <a:r>
              <a:rPr lang="de-DE" altLang="en-US" sz="1600" dirty="0"/>
              <a:t>Check </a:t>
            </a:r>
            <a:r>
              <a:rPr lang="de-DE" altLang="en-US" sz="1600" dirty="0" err="1"/>
              <a:t>alarms</a:t>
            </a:r>
            <a:endParaRPr lang="de-DE" altLang="en-US" sz="1600" dirty="0"/>
          </a:p>
          <a:p>
            <a:pPr marL="285750" indent="-285750" algn="l" eaLnBrk="1" hangingPunct="1">
              <a:spcBef>
                <a:spcPts val="600"/>
              </a:spcBef>
              <a:buClr>
                <a:schemeClr val="accent1"/>
              </a:buClr>
              <a:buFont typeface="Arial" panose="020B0604020202020204" pitchFamily="34" charset="0"/>
              <a:buChar char="•"/>
            </a:pPr>
            <a:r>
              <a:rPr lang="de-DE" altLang="en-US" sz="1600" dirty="0"/>
              <a:t>……</a:t>
            </a:r>
          </a:p>
        </p:txBody>
      </p:sp>
      <p:sp>
        <p:nvSpPr>
          <p:cNvPr id="15" name="Rechteck 22">
            <a:extLst>
              <a:ext uri="{FF2B5EF4-FFF2-40B4-BE49-F238E27FC236}">
                <a16:creationId xmlns:a16="http://schemas.microsoft.com/office/drawing/2014/main" id="{69195940-A5D1-4EC3-AB54-867BF0B85AE2}"/>
              </a:ext>
            </a:extLst>
          </p:cNvPr>
          <p:cNvSpPr>
            <a:spLocks noChangeArrowheads="1"/>
          </p:cNvSpPr>
          <p:nvPr/>
        </p:nvSpPr>
        <p:spPr bwMode="auto">
          <a:xfrm>
            <a:off x="7272966" y="584370"/>
            <a:ext cx="3609865" cy="34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t>Controller </a:t>
            </a:r>
            <a:r>
              <a:rPr lang="de-CH" altLang="en-US" sz="1600" dirty="0" err="1"/>
              <a:t>built</a:t>
            </a:r>
            <a:r>
              <a:rPr lang="de-CH" altLang="en-US" sz="1600" dirty="0"/>
              <a:t>-in HMI / HMI </a:t>
            </a:r>
            <a:r>
              <a:rPr lang="de-CH" altLang="en-US" sz="1600" dirty="0" err="1"/>
              <a:t>unit</a:t>
            </a:r>
            <a:endParaRPr lang="de-DE" altLang="en-US" sz="1600" dirty="0"/>
          </a:p>
        </p:txBody>
      </p:sp>
      <p:pic>
        <p:nvPicPr>
          <p:cNvPr id="6" name="Grafik 5">
            <a:extLst>
              <a:ext uri="{FF2B5EF4-FFF2-40B4-BE49-F238E27FC236}">
                <a16:creationId xmlns:a16="http://schemas.microsoft.com/office/drawing/2014/main" id="{B8286DC2-B548-43AA-B845-561FAFAC8082}"/>
              </a:ext>
            </a:extLst>
          </p:cNvPr>
          <p:cNvPicPr>
            <a:picLocks noChangeAspect="1"/>
          </p:cNvPicPr>
          <p:nvPr/>
        </p:nvPicPr>
        <p:blipFill rotWithShape="1">
          <a:blip r:embed="rId3"/>
          <a:srcRect t="4261" r="8970" b="14733"/>
          <a:stretch/>
        </p:blipFill>
        <p:spPr>
          <a:xfrm>
            <a:off x="7332638" y="913190"/>
            <a:ext cx="3061759" cy="2042258"/>
          </a:xfrm>
          <a:prstGeom prst="rect">
            <a:avLst/>
          </a:prstGeom>
        </p:spPr>
      </p:pic>
      <p:grpSp>
        <p:nvGrpSpPr>
          <p:cNvPr id="2" name="Gruppieren 1">
            <a:extLst>
              <a:ext uri="{FF2B5EF4-FFF2-40B4-BE49-F238E27FC236}">
                <a16:creationId xmlns:a16="http://schemas.microsoft.com/office/drawing/2014/main" id="{3AB18827-F137-4FD0-9686-4FB42A03E818}"/>
              </a:ext>
            </a:extLst>
          </p:cNvPr>
          <p:cNvGrpSpPr/>
          <p:nvPr/>
        </p:nvGrpSpPr>
        <p:grpSpPr>
          <a:xfrm>
            <a:off x="8767028" y="2442538"/>
            <a:ext cx="3428147" cy="2540376"/>
            <a:chOff x="8767028" y="2442538"/>
            <a:chExt cx="3428147" cy="2540376"/>
          </a:xfrm>
        </p:grpSpPr>
        <p:pic>
          <p:nvPicPr>
            <p:cNvPr id="5" name="Picture 4">
              <a:extLst>
                <a:ext uri="{FF2B5EF4-FFF2-40B4-BE49-F238E27FC236}">
                  <a16:creationId xmlns:a16="http://schemas.microsoft.com/office/drawing/2014/main" id="{B887B4AC-3A40-4E26-88F0-390EF985D601}"/>
                </a:ext>
              </a:extLst>
            </p:cNvPr>
            <p:cNvPicPr>
              <a:picLocks noChangeAspect="1"/>
            </p:cNvPicPr>
            <p:nvPr/>
          </p:nvPicPr>
          <p:blipFill>
            <a:blip r:embed="rId4"/>
            <a:stretch>
              <a:fillRect/>
            </a:stretch>
          </p:blipFill>
          <p:spPr>
            <a:xfrm>
              <a:off x="8767028" y="2784683"/>
              <a:ext cx="3213311" cy="2198231"/>
            </a:xfrm>
            <a:prstGeom prst="rect">
              <a:avLst/>
            </a:prstGeom>
            <a:effectLst>
              <a:outerShdw blurRad="50800" dist="50800" dir="5400000" algn="ctr" rotWithShape="0">
                <a:schemeClr val="tx1"/>
              </a:outerShdw>
            </a:effectLst>
          </p:spPr>
        </p:pic>
        <p:sp>
          <p:nvSpPr>
            <p:cNvPr id="19" name="Rechteck 22">
              <a:extLst>
                <a:ext uri="{FF2B5EF4-FFF2-40B4-BE49-F238E27FC236}">
                  <a16:creationId xmlns:a16="http://schemas.microsoft.com/office/drawing/2014/main" id="{A445511D-AB73-4FF7-A3B6-93F7C8247A9A}"/>
                </a:ext>
              </a:extLst>
            </p:cNvPr>
            <p:cNvSpPr>
              <a:spLocks noChangeArrowheads="1"/>
            </p:cNvSpPr>
            <p:nvPr/>
          </p:nvSpPr>
          <p:spPr bwMode="auto">
            <a:xfrm>
              <a:off x="10353289" y="2442538"/>
              <a:ext cx="1841886" cy="34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t>Web </a:t>
              </a:r>
              <a:r>
                <a:rPr lang="de-CH" altLang="en-US" sz="1600" dirty="0" err="1"/>
                <a:t>server</a:t>
              </a:r>
              <a:r>
                <a:rPr lang="de-CH" altLang="en-US" sz="1600" dirty="0"/>
                <a:t> HMI</a:t>
              </a:r>
              <a:endParaRPr lang="de-DE" altLang="en-US" sz="1600" dirty="0"/>
            </a:p>
          </p:txBody>
        </p:sp>
      </p:grpSp>
      <p:grpSp>
        <p:nvGrpSpPr>
          <p:cNvPr id="3" name="Gruppieren 2">
            <a:extLst>
              <a:ext uri="{FF2B5EF4-FFF2-40B4-BE49-F238E27FC236}">
                <a16:creationId xmlns:a16="http://schemas.microsoft.com/office/drawing/2014/main" id="{69C6965B-D6B7-48A3-82CA-A242870460C1}"/>
              </a:ext>
            </a:extLst>
          </p:cNvPr>
          <p:cNvGrpSpPr/>
          <p:nvPr/>
        </p:nvGrpSpPr>
        <p:grpSpPr>
          <a:xfrm>
            <a:off x="7248543" y="3712726"/>
            <a:ext cx="2153874" cy="2328532"/>
            <a:chOff x="7248543" y="3712726"/>
            <a:chExt cx="2153874" cy="2328532"/>
          </a:xfrm>
        </p:grpSpPr>
        <p:sp>
          <p:nvSpPr>
            <p:cNvPr id="20" name="Rechteck 22">
              <a:extLst>
                <a:ext uri="{FF2B5EF4-FFF2-40B4-BE49-F238E27FC236}">
                  <a16:creationId xmlns:a16="http://schemas.microsoft.com/office/drawing/2014/main" id="{E42C6CA5-5E2A-4F98-9E61-D7B395A177D0}"/>
                </a:ext>
              </a:extLst>
            </p:cNvPr>
            <p:cNvSpPr>
              <a:spLocks noChangeArrowheads="1"/>
            </p:cNvSpPr>
            <p:nvPr/>
          </p:nvSpPr>
          <p:spPr bwMode="auto">
            <a:xfrm>
              <a:off x="7248543" y="3712726"/>
              <a:ext cx="1514457" cy="34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t>IC </a:t>
              </a:r>
              <a:r>
                <a:rPr lang="de-CH" altLang="en-US" sz="1600" dirty="0" err="1"/>
                <a:t>cloud</a:t>
              </a:r>
              <a:r>
                <a:rPr lang="de-CH" altLang="en-US" sz="1600" dirty="0"/>
                <a:t> HMI</a:t>
              </a:r>
              <a:endParaRPr lang="de-DE" altLang="en-US" sz="1600" dirty="0"/>
            </a:p>
          </p:txBody>
        </p:sp>
        <p:pic>
          <p:nvPicPr>
            <p:cNvPr id="4" name="Grafik 3">
              <a:extLst>
                <a:ext uri="{FF2B5EF4-FFF2-40B4-BE49-F238E27FC236}">
                  <a16:creationId xmlns:a16="http://schemas.microsoft.com/office/drawing/2014/main" id="{94CDB759-4FBE-43AE-85ED-1C52F9E220A9}"/>
                </a:ext>
              </a:extLst>
            </p:cNvPr>
            <p:cNvPicPr>
              <a:picLocks noChangeAspect="1"/>
            </p:cNvPicPr>
            <p:nvPr/>
          </p:nvPicPr>
          <p:blipFill>
            <a:blip r:embed="rId5"/>
            <a:stretch>
              <a:fillRect/>
            </a:stretch>
          </p:blipFill>
          <p:spPr>
            <a:xfrm>
              <a:off x="7272966" y="4054871"/>
              <a:ext cx="2129451" cy="1986387"/>
            </a:xfrm>
            <a:prstGeom prst="rect">
              <a:avLst/>
            </a:prstGeom>
          </p:spPr>
        </p:pic>
      </p:grpSp>
      <p:sp>
        <p:nvSpPr>
          <p:cNvPr id="16" name="Textfeld 15">
            <a:extLst>
              <a:ext uri="{FF2B5EF4-FFF2-40B4-BE49-F238E27FC236}">
                <a16:creationId xmlns:a16="http://schemas.microsoft.com/office/drawing/2014/main" id="{57234F87-9AE3-415B-8AFF-642B9F0F3664}"/>
              </a:ext>
            </a:extLst>
          </p:cNvPr>
          <p:cNvSpPr txBox="1"/>
          <p:nvPr/>
        </p:nvSpPr>
        <p:spPr>
          <a:xfrm>
            <a:off x="2159999" y="6273630"/>
            <a:ext cx="10035176" cy="584775"/>
          </a:xfrm>
          <a:prstGeom prst="rect">
            <a:avLst/>
          </a:prstGeom>
          <a:solidFill>
            <a:srgbClr val="90EEF8"/>
          </a:solidFill>
        </p:spPr>
        <p:txBody>
          <a:bodyPr wrap="square">
            <a:spAutoFit/>
          </a:bodyPr>
          <a:lstStyle/>
          <a:p>
            <a:pPr algn="l"/>
            <a:r>
              <a:rPr lang="en-US" sz="1600" dirty="0">
                <a:solidFill>
                  <a:schemeClr val="tx1"/>
                </a:solidFill>
              </a:rPr>
              <a:t>Depending on the user role, the menu or dedicated data (automation objects member) can be set to a security level with read or write rights. If no security level is set, all menu and data can be seen by any user.</a:t>
            </a:r>
          </a:p>
        </p:txBody>
      </p:sp>
      <p:sp>
        <p:nvSpPr>
          <p:cNvPr id="12" name="Rechteck 22">
            <a:extLst>
              <a:ext uri="{FF2B5EF4-FFF2-40B4-BE49-F238E27FC236}">
                <a16:creationId xmlns:a16="http://schemas.microsoft.com/office/drawing/2014/main" id="{E56B1796-1CF5-4739-8AE4-899D122206D0}"/>
              </a:ext>
            </a:extLst>
          </p:cNvPr>
          <p:cNvSpPr>
            <a:spLocks noChangeArrowheads="1"/>
          </p:cNvSpPr>
          <p:nvPr/>
        </p:nvSpPr>
        <p:spPr bwMode="auto">
          <a:xfrm>
            <a:off x="2226461" y="2233242"/>
            <a:ext cx="4946782" cy="2398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endParaRPr lang="de-DE" altLang="en-US" sz="1600" dirty="0"/>
          </a:p>
          <a:p>
            <a:pPr algn="l" eaLnBrk="1" hangingPunct="1">
              <a:buClr>
                <a:schemeClr val="accent1"/>
              </a:buClr>
            </a:pPr>
            <a:r>
              <a:rPr lang="de-DE" altLang="en-US" sz="1600" b="1" dirty="0"/>
              <a:t>Climatix </a:t>
            </a:r>
            <a:r>
              <a:rPr lang="de-DE" altLang="en-US" sz="1600" b="1" dirty="0" err="1"/>
              <a:t>provides</a:t>
            </a:r>
            <a:r>
              <a:rPr lang="de-DE" altLang="en-US" sz="1600" b="1" dirty="0"/>
              <a:t> </a:t>
            </a:r>
            <a:r>
              <a:rPr lang="de-DE" altLang="en-US" sz="1600" b="1" dirty="0" err="1"/>
              <a:t>many</a:t>
            </a:r>
            <a:r>
              <a:rPr lang="de-DE" altLang="en-US" sz="1600" b="1" dirty="0"/>
              <a:t> </a:t>
            </a:r>
            <a:r>
              <a:rPr lang="de-DE" altLang="en-US" sz="1600" b="1" dirty="0" err="1"/>
              <a:t>options</a:t>
            </a:r>
            <a:r>
              <a:rPr lang="de-DE" altLang="en-US" sz="1600" b="1" dirty="0"/>
              <a:t> </a:t>
            </a:r>
            <a:r>
              <a:rPr lang="de-DE" altLang="en-US" sz="1600" b="1" dirty="0" err="1"/>
              <a:t>for</a:t>
            </a:r>
            <a:r>
              <a:rPr lang="de-DE" altLang="en-US" sz="1600" b="1" dirty="0"/>
              <a:t> </a:t>
            </a:r>
            <a:r>
              <a:rPr lang="de-DE" altLang="en-US" sz="1600" b="1" dirty="0" err="1"/>
              <a:t>monitoring</a:t>
            </a:r>
            <a:r>
              <a:rPr lang="de-DE" altLang="en-US" sz="1600" b="1" dirty="0"/>
              <a:t> and </a:t>
            </a:r>
            <a:r>
              <a:rPr lang="de-DE" altLang="en-US" sz="1600" b="1" dirty="0" err="1"/>
              <a:t>operation</a:t>
            </a:r>
            <a:endParaRPr lang="de-DE" altLang="en-US" sz="1600" b="1" dirty="0"/>
          </a:p>
          <a:p>
            <a:pPr marL="285750" indent="-285750" algn="l" eaLnBrk="1" hangingPunct="1">
              <a:spcBef>
                <a:spcPts val="600"/>
              </a:spcBef>
              <a:buClr>
                <a:schemeClr val="accent1"/>
              </a:buClr>
              <a:buFont typeface="Arial" panose="020B0604020202020204" pitchFamily="34" charset="0"/>
              <a:buChar char="•"/>
            </a:pPr>
            <a:r>
              <a:rPr lang="de-DE" altLang="en-US" sz="1600" dirty="0"/>
              <a:t>Controller </a:t>
            </a:r>
            <a:r>
              <a:rPr lang="de-DE" altLang="en-US" sz="1600" dirty="0" err="1"/>
              <a:t>built</a:t>
            </a:r>
            <a:r>
              <a:rPr lang="de-DE" altLang="en-US" sz="1600" dirty="0"/>
              <a:t>-in HMI – on </a:t>
            </a:r>
            <a:r>
              <a:rPr lang="de-DE" altLang="en-US" sz="1600" dirty="0" err="1"/>
              <a:t>site</a:t>
            </a:r>
            <a:endParaRPr lang="de-DE" altLang="en-US" sz="1600" dirty="0"/>
          </a:p>
          <a:p>
            <a:pPr marL="285750" indent="-285750" algn="l" eaLnBrk="1" hangingPunct="1">
              <a:spcBef>
                <a:spcPts val="600"/>
              </a:spcBef>
              <a:buClr>
                <a:schemeClr val="accent1"/>
              </a:buClr>
              <a:buFont typeface="Arial" panose="020B0604020202020204" pitchFamily="34" charset="0"/>
              <a:buChar char="•"/>
            </a:pPr>
            <a:r>
              <a:rPr lang="de-DE" altLang="en-US" sz="1600" dirty="0"/>
              <a:t>External HMI </a:t>
            </a:r>
            <a:r>
              <a:rPr lang="de-DE" altLang="en-US" sz="1600" dirty="0" err="1"/>
              <a:t>unit</a:t>
            </a:r>
            <a:r>
              <a:rPr lang="de-DE" altLang="en-US" sz="1600" dirty="0"/>
              <a:t> – on </a:t>
            </a:r>
            <a:r>
              <a:rPr lang="de-DE" altLang="en-US" sz="1600" dirty="0" err="1"/>
              <a:t>site</a:t>
            </a:r>
            <a:endParaRPr lang="de-DE" altLang="en-US" sz="1600" dirty="0"/>
          </a:p>
          <a:p>
            <a:pPr marL="285750" indent="-285750" algn="l" eaLnBrk="1" hangingPunct="1">
              <a:spcBef>
                <a:spcPts val="600"/>
              </a:spcBef>
              <a:buClr>
                <a:schemeClr val="accent1"/>
              </a:buClr>
              <a:buFont typeface="Arial" panose="020B0604020202020204" pitchFamily="34" charset="0"/>
              <a:buChar char="•"/>
            </a:pPr>
            <a:r>
              <a:rPr lang="de-DE" altLang="en-US" sz="1600" dirty="0"/>
              <a:t>HMI on </a:t>
            </a:r>
            <a:r>
              <a:rPr lang="de-DE" altLang="en-US" sz="1600" dirty="0" err="1"/>
              <a:t>controller</a:t>
            </a:r>
            <a:r>
              <a:rPr lang="de-DE" altLang="en-US" sz="1600" dirty="0"/>
              <a:t> web </a:t>
            </a:r>
            <a:r>
              <a:rPr lang="de-DE" altLang="en-US" sz="1600" dirty="0" err="1"/>
              <a:t>server</a:t>
            </a:r>
            <a:r>
              <a:rPr lang="de-DE" altLang="en-US" sz="1600" dirty="0"/>
              <a:t> - remote</a:t>
            </a:r>
          </a:p>
          <a:p>
            <a:pPr marL="285750" indent="-285750" algn="l" eaLnBrk="1" hangingPunct="1">
              <a:spcBef>
                <a:spcPts val="600"/>
              </a:spcBef>
              <a:buClr>
                <a:schemeClr val="accent1"/>
              </a:buClr>
              <a:buFont typeface="Arial" panose="020B0604020202020204" pitchFamily="34" charset="0"/>
              <a:buChar char="•"/>
            </a:pPr>
            <a:r>
              <a:rPr lang="de-DE" altLang="en-US" sz="1600" dirty="0"/>
              <a:t>HMI on IC </a:t>
            </a:r>
            <a:r>
              <a:rPr lang="de-DE" altLang="en-US" sz="1600" dirty="0" err="1"/>
              <a:t>cloud</a:t>
            </a:r>
            <a:r>
              <a:rPr lang="de-DE" altLang="en-US" sz="1600" dirty="0"/>
              <a:t> </a:t>
            </a:r>
            <a:r>
              <a:rPr lang="de-DE" altLang="en-US" sz="1600" dirty="0" err="1"/>
              <a:t>platform</a:t>
            </a:r>
            <a:r>
              <a:rPr lang="de-DE" altLang="en-US" sz="1600" dirty="0"/>
              <a:t> – remote</a:t>
            </a:r>
          </a:p>
        </p:txBody>
      </p:sp>
      <p:sp>
        <p:nvSpPr>
          <p:cNvPr id="14" name="Rechteck 22">
            <a:extLst>
              <a:ext uri="{FF2B5EF4-FFF2-40B4-BE49-F238E27FC236}">
                <a16:creationId xmlns:a16="http://schemas.microsoft.com/office/drawing/2014/main" id="{97F62D26-4756-4F6B-A82A-0C54FE4407EB}"/>
              </a:ext>
            </a:extLst>
          </p:cNvPr>
          <p:cNvSpPr>
            <a:spLocks noChangeArrowheads="1"/>
          </p:cNvSpPr>
          <p:nvPr/>
        </p:nvSpPr>
        <p:spPr bwMode="auto">
          <a:xfrm>
            <a:off x="2167619" y="4763472"/>
            <a:ext cx="4946782" cy="127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a:buClr>
                <a:schemeClr val="accent1"/>
              </a:buClr>
            </a:pPr>
            <a:r>
              <a:rPr lang="de-DE" altLang="en-US" sz="1600" b="1" dirty="0"/>
              <a:t>Climatix </a:t>
            </a:r>
            <a:r>
              <a:rPr lang="de-DE" altLang="en-US" sz="1600" b="1" dirty="0" err="1"/>
              <a:t>allows</a:t>
            </a:r>
            <a:r>
              <a:rPr lang="de-DE" altLang="en-US" sz="1600" b="1" dirty="0"/>
              <a:t> </a:t>
            </a:r>
            <a:r>
              <a:rPr lang="de-DE" altLang="en-US" sz="1600" b="1" dirty="0" err="1"/>
              <a:t>third</a:t>
            </a:r>
            <a:r>
              <a:rPr lang="de-DE" altLang="en-US" sz="1600" b="1" dirty="0"/>
              <a:t>-party </a:t>
            </a:r>
            <a:r>
              <a:rPr lang="de-DE" altLang="en-US" sz="1600" b="1" dirty="0" err="1"/>
              <a:t>development</a:t>
            </a:r>
            <a:r>
              <a:rPr lang="de-DE" altLang="en-US" sz="1600" b="1" dirty="0"/>
              <a:t> </a:t>
            </a:r>
            <a:r>
              <a:rPr lang="de-DE" altLang="en-US" sz="1600" b="1" dirty="0" err="1"/>
              <a:t>of</a:t>
            </a:r>
            <a:r>
              <a:rPr lang="de-DE" altLang="en-US" sz="1600" b="1" dirty="0"/>
              <a:t>  HMI</a:t>
            </a:r>
            <a:br>
              <a:rPr lang="de-DE" altLang="en-US" sz="1600" b="1" dirty="0"/>
            </a:br>
            <a:r>
              <a:rPr lang="de-DE" altLang="en-US" sz="1600" dirty="0"/>
              <a:t>(not </a:t>
            </a:r>
            <a:r>
              <a:rPr lang="de-DE" altLang="en-US" sz="1600" dirty="0" err="1"/>
              <a:t>part</a:t>
            </a:r>
            <a:r>
              <a:rPr lang="de-DE" altLang="en-US" sz="1600" dirty="0"/>
              <a:t> </a:t>
            </a:r>
            <a:r>
              <a:rPr lang="de-DE" altLang="en-US" sz="1600" dirty="0" err="1"/>
              <a:t>of</a:t>
            </a:r>
            <a:r>
              <a:rPr lang="de-DE" altLang="en-US" sz="1600" dirty="0"/>
              <a:t> </a:t>
            </a:r>
            <a:r>
              <a:rPr lang="de-DE" altLang="en-US" sz="1600" dirty="0" err="1"/>
              <a:t>this</a:t>
            </a:r>
            <a:r>
              <a:rPr lang="de-DE" altLang="en-US" sz="1600" dirty="0"/>
              <a:t> </a:t>
            </a:r>
            <a:r>
              <a:rPr lang="de-DE" altLang="en-US" sz="1600" dirty="0" err="1"/>
              <a:t>training</a:t>
            </a:r>
            <a:r>
              <a:rPr lang="de-DE" altLang="en-US" sz="1600" dirty="0"/>
              <a:t>)</a:t>
            </a:r>
          </a:p>
          <a:p>
            <a:pPr marL="285750" indent="-285750" algn="l" eaLnBrk="1" hangingPunct="1">
              <a:buClr>
                <a:schemeClr val="accent1"/>
              </a:buClr>
              <a:buFont typeface="Arial" panose="020B0604020202020204" pitchFamily="34" charset="0"/>
              <a:buChar char="•"/>
            </a:pPr>
            <a:r>
              <a:rPr lang="de-DE" altLang="en-US" sz="1600" dirty="0"/>
              <a:t>HMI on </a:t>
            </a:r>
            <a:r>
              <a:rPr lang="de-DE" altLang="en-US" sz="1600" dirty="0" err="1"/>
              <a:t>touch</a:t>
            </a:r>
            <a:r>
              <a:rPr lang="de-DE" altLang="en-US" sz="1600" dirty="0"/>
              <a:t> </a:t>
            </a:r>
            <a:r>
              <a:rPr lang="de-DE" altLang="en-US" sz="1600" dirty="0" err="1"/>
              <a:t>panel</a:t>
            </a:r>
            <a:r>
              <a:rPr lang="de-DE" altLang="en-US" sz="1600" dirty="0"/>
              <a:t> and mobile </a:t>
            </a:r>
            <a:r>
              <a:rPr lang="de-DE" altLang="en-US" sz="1600" dirty="0" err="1"/>
              <a:t>devices</a:t>
            </a:r>
            <a:br>
              <a:rPr lang="de-DE" altLang="en-US" sz="1600" dirty="0"/>
            </a:br>
            <a:r>
              <a:rPr lang="de-DE" altLang="en-US" sz="1600" dirty="0"/>
              <a:t>(not in </a:t>
            </a:r>
            <a:r>
              <a:rPr lang="de-DE" altLang="en-US" sz="1600" dirty="0" err="1"/>
              <a:t>scope</a:t>
            </a:r>
            <a:r>
              <a:rPr lang="de-DE" altLang="en-US" sz="1600" dirty="0"/>
              <a:t> </a:t>
            </a:r>
            <a:r>
              <a:rPr lang="de-DE" altLang="en-US" sz="1600" dirty="0" err="1"/>
              <a:t>of</a:t>
            </a:r>
            <a:r>
              <a:rPr lang="de-DE" altLang="en-US" sz="1600" dirty="0"/>
              <a:t> </a:t>
            </a:r>
            <a:r>
              <a:rPr lang="de-DE" altLang="en-US" sz="1600" dirty="0" err="1"/>
              <a:t>this</a:t>
            </a:r>
            <a:r>
              <a:rPr lang="de-DE" altLang="en-US" sz="1600" dirty="0"/>
              <a:t> </a:t>
            </a:r>
            <a:r>
              <a:rPr lang="de-DE" altLang="en-US" sz="1600" dirty="0" err="1"/>
              <a:t>class</a:t>
            </a:r>
            <a:r>
              <a:rPr lang="de-DE" altLang="en-US" sz="1600" dirty="0"/>
              <a:t>)</a:t>
            </a:r>
          </a:p>
        </p:txBody>
      </p:sp>
      <p:sp>
        <p:nvSpPr>
          <p:cNvPr id="17" name="Textfeld 337">
            <a:extLst>
              <a:ext uri="{FF2B5EF4-FFF2-40B4-BE49-F238E27FC236}">
                <a16:creationId xmlns:a16="http://schemas.microsoft.com/office/drawing/2014/main" id="{E994B9DA-1ACE-4732-A5E7-887E59953C7F}"/>
              </a:ext>
            </a:extLst>
          </p:cNvPr>
          <p:cNvSpPr txBox="1"/>
          <p:nvPr/>
        </p:nvSpPr>
        <p:spPr>
          <a:xfrm>
            <a:off x="0" y="4914079"/>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a:t>Controller HMI</a:t>
            </a:r>
          </a:p>
        </p:txBody>
      </p:sp>
    </p:spTree>
    <p:extLst>
      <p:ext uri="{BB962C8B-B14F-4D97-AF65-F5344CB8AC3E}">
        <p14:creationId xmlns:p14="http://schemas.microsoft.com/office/powerpoint/2010/main" val="132646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2" grpId="0"/>
      <p:bldP spid="1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a:extLst>
              <a:ext uri="{FF2B5EF4-FFF2-40B4-BE49-F238E27FC236}">
                <a16:creationId xmlns:a16="http://schemas.microsoft.com/office/drawing/2014/main" id="{B716E896-99C9-4806-BB7F-E17F6220C0C3}"/>
              </a:ext>
            </a:extLst>
          </p:cNvPr>
          <p:cNvSpPr>
            <a:spLocks noGrp="1"/>
          </p:cNvSpPr>
          <p:nvPr>
            <p:ph idx="1"/>
          </p:nvPr>
        </p:nvSpPr>
        <p:spPr/>
        <p:txBody>
          <a:bodyPr/>
          <a:lstStyle/>
          <a:p>
            <a:endParaRPr lang="en-US"/>
          </a:p>
        </p:txBody>
      </p:sp>
      <p:sp>
        <p:nvSpPr>
          <p:cNvPr id="51" name="cdtText Box 4 Id114692">
            <a:extLst>
              <a:ext uri="{FF2B5EF4-FFF2-40B4-BE49-F238E27FC236}">
                <a16:creationId xmlns:a16="http://schemas.microsoft.com/office/drawing/2014/main" id="{EAF5ED0E-D67A-4E2E-8522-3EF27692ADA9}"/>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err="1">
                <a:solidFill>
                  <a:schemeClr val="bg1"/>
                </a:solidFill>
              </a:rPr>
              <a:t>Watchpage</a:t>
            </a:r>
            <a:r>
              <a:rPr lang="en-US" sz="1600" dirty="0">
                <a:solidFill>
                  <a:schemeClr val="bg1"/>
                </a:solidFill>
              </a:rPr>
              <a:t> creation flow</a:t>
            </a:r>
          </a:p>
        </p:txBody>
      </p:sp>
      <p:pic>
        <p:nvPicPr>
          <p:cNvPr id="3" name="Grafik 2">
            <a:extLst>
              <a:ext uri="{FF2B5EF4-FFF2-40B4-BE49-F238E27FC236}">
                <a16:creationId xmlns:a16="http://schemas.microsoft.com/office/drawing/2014/main" id="{C429F226-0310-47E3-B107-6824B9FA8839}"/>
              </a:ext>
            </a:extLst>
          </p:cNvPr>
          <p:cNvPicPr>
            <a:picLocks noChangeAspect="1"/>
          </p:cNvPicPr>
          <p:nvPr/>
        </p:nvPicPr>
        <p:blipFill>
          <a:blip r:embed="rId3"/>
          <a:stretch>
            <a:fillRect/>
          </a:stretch>
        </p:blipFill>
        <p:spPr>
          <a:xfrm>
            <a:off x="2164651" y="468685"/>
            <a:ext cx="7361586" cy="6387832"/>
          </a:xfrm>
          <a:prstGeom prst="rect">
            <a:avLst/>
          </a:prstGeom>
        </p:spPr>
      </p:pic>
      <p:grpSp>
        <p:nvGrpSpPr>
          <p:cNvPr id="80" name="Gruppieren 79">
            <a:extLst>
              <a:ext uri="{FF2B5EF4-FFF2-40B4-BE49-F238E27FC236}">
                <a16:creationId xmlns:a16="http://schemas.microsoft.com/office/drawing/2014/main" id="{D0AFF3CA-C878-425F-850D-F667BA5E48D1}"/>
              </a:ext>
            </a:extLst>
          </p:cNvPr>
          <p:cNvGrpSpPr/>
          <p:nvPr/>
        </p:nvGrpSpPr>
        <p:grpSpPr>
          <a:xfrm>
            <a:off x="2949062" y="2092247"/>
            <a:ext cx="3855598" cy="2604163"/>
            <a:chOff x="2949062" y="2092247"/>
            <a:chExt cx="3855598" cy="2604163"/>
          </a:xfrm>
        </p:grpSpPr>
        <p:cxnSp>
          <p:nvCxnSpPr>
            <p:cNvPr id="55" name="Łącznik prosty ze strzałką 22">
              <a:extLst>
                <a:ext uri="{FF2B5EF4-FFF2-40B4-BE49-F238E27FC236}">
                  <a16:creationId xmlns:a16="http://schemas.microsoft.com/office/drawing/2014/main" id="{310614F0-FF3B-4122-A542-35D177640DE9}"/>
                </a:ext>
              </a:extLst>
            </p:cNvPr>
            <p:cNvCxnSpPr>
              <a:cxnSpLocks/>
            </p:cNvCxnSpPr>
            <p:nvPr/>
          </p:nvCxnSpPr>
          <p:spPr>
            <a:xfrm flipV="1">
              <a:off x="3419464" y="2092247"/>
              <a:ext cx="3385196" cy="2373732"/>
            </a:xfrm>
            <a:prstGeom prst="straightConnector1">
              <a:avLst/>
            </a:prstGeom>
            <a:noFill/>
            <a:ln w="38100" cap="flat" cmpd="sng" algn="ctr">
              <a:solidFill>
                <a:srgbClr val="4472C4"/>
              </a:solidFill>
              <a:prstDash val="solid"/>
              <a:miter lim="800000"/>
              <a:tailEnd type="none"/>
            </a:ln>
            <a:effectLst/>
          </p:spPr>
        </p:cxnSp>
        <p:cxnSp>
          <p:nvCxnSpPr>
            <p:cNvPr id="56" name="Łącznik prosty ze strzałką 29">
              <a:extLst>
                <a:ext uri="{FF2B5EF4-FFF2-40B4-BE49-F238E27FC236}">
                  <a16:creationId xmlns:a16="http://schemas.microsoft.com/office/drawing/2014/main" id="{93657AF2-7CDE-4D15-8EA8-AA24BA3C6854}"/>
                </a:ext>
              </a:extLst>
            </p:cNvPr>
            <p:cNvCxnSpPr>
              <a:cxnSpLocks/>
            </p:cNvCxnSpPr>
            <p:nvPr/>
          </p:nvCxnSpPr>
          <p:spPr>
            <a:xfrm flipV="1">
              <a:off x="3728845" y="2273808"/>
              <a:ext cx="3049907" cy="2251894"/>
            </a:xfrm>
            <a:prstGeom prst="straightConnector1">
              <a:avLst/>
            </a:prstGeom>
            <a:noFill/>
            <a:ln w="38100" cap="flat" cmpd="sng" algn="ctr">
              <a:solidFill>
                <a:srgbClr val="4472C4"/>
              </a:solidFill>
              <a:prstDash val="solid"/>
              <a:miter lim="800000"/>
              <a:tailEnd type="none"/>
            </a:ln>
            <a:effectLst/>
          </p:spPr>
        </p:cxnSp>
        <p:cxnSp>
          <p:nvCxnSpPr>
            <p:cNvPr id="57" name="Łącznik prosty ze strzałką 30">
              <a:extLst>
                <a:ext uri="{FF2B5EF4-FFF2-40B4-BE49-F238E27FC236}">
                  <a16:creationId xmlns:a16="http://schemas.microsoft.com/office/drawing/2014/main" id="{5A13942F-B0CA-450E-B56D-DDAD8BF2F42C}"/>
                </a:ext>
              </a:extLst>
            </p:cNvPr>
            <p:cNvCxnSpPr>
              <a:cxnSpLocks/>
              <a:stCxn id="59" idx="1"/>
            </p:cNvCxnSpPr>
            <p:nvPr/>
          </p:nvCxnSpPr>
          <p:spPr>
            <a:xfrm flipV="1">
              <a:off x="4151501" y="2390406"/>
              <a:ext cx="2653159" cy="2191596"/>
            </a:xfrm>
            <a:prstGeom prst="straightConnector1">
              <a:avLst/>
            </a:prstGeom>
            <a:noFill/>
            <a:ln w="38100" cap="flat" cmpd="sng" algn="ctr">
              <a:solidFill>
                <a:srgbClr val="4472C4"/>
              </a:solidFill>
              <a:prstDash val="solid"/>
              <a:miter lim="800000"/>
              <a:tailEnd type="none"/>
            </a:ln>
            <a:effectLst/>
          </p:spPr>
        </p:cxnSp>
        <p:sp>
          <p:nvSpPr>
            <p:cNvPr id="59" name="Strzałka: pięciokąt 13">
              <a:extLst>
                <a:ext uri="{FF2B5EF4-FFF2-40B4-BE49-F238E27FC236}">
                  <a16:creationId xmlns:a16="http://schemas.microsoft.com/office/drawing/2014/main" id="{D15F61C4-E11F-4D26-8FF2-514501A28CF1}"/>
                </a:ext>
              </a:extLst>
            </p:cNvPr>
            <p:cNvSpPr/>
            <p:nvPr/>
          </p:nvSpPr>
          <p:spPr>
            <a:xfrm flipH="1">
              <a:off x="2949062" y="4467594"/>
              <a:ext cx="1202439" cy="228816"/>
            </a:xfrm>
            <a:prstGeom prst="homePlate">
              <a:avLst>
                <a:gd name="adj" fmla="val 0"/>
              </a:avLst>
            </a:prstGeom>
            <a:solidFill>
              <a:srgbClr val="4472C4"/>
            </a:solidFill>
            <a:ln w="12700" cap="flat" cmpd="sng" algn="ctr">
              <a:solidFill>
                <a:srgbClr val="4472C4">
                  <a:shade val="50000"/>
                </a:srgbClr>
              </a:solidFill>
              <a:prstDash val="solid"/>
              <a:miter lim="800000"/>
            </a:ln>
            <a:effectLst/>
          </p:spPr>
          <p:txBody>
            <a:bodyPr lIns="0" tIns="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prstClr val="white"/>
                  </a:solidFill>
                  <a:effectLst/>
                  <a:uLnTx/>
                  <a:uFillTx/>
                  <a:latin typeface="Calibri" panose="020F0502020204030204"/>
                  <a:ea typeface="+mn-ea"/>
                  <a:cs typeface="+mn-cs"/>
                </a:rPr>
                <a:t>Mapping Support</a:t>
              </a:r>
            </a:p>
          </p:txBody>
        </p:sp>
      </p:grpSp>
      <p:sp>
        <p:nvSpPr>
          <p:cNvPr id="72" name="pole tekstowe 37">
            <a:extLst>
              <a:ext uri="{FF2B5EF4-FFF2-40B4-BE49-F238E27FC236}">
                <a16:creationId xmlns:a16="http://schemas.microsoft.com/office/drawing/2014/main" id="{E5360674-24A6-464A-9BAA-F4A75F0AE731}"/>
              </a:ext>
            </a:extLst>
          </p:cNvPr>
          <p:cNvSpPr txBox="1"/>
          <p:nvPr/>
        </p:nvSpPr>
        <p:spPr>
          <a:xfrm>
            <a:off x="6548424" y="460243"/>
            <a:ext cx="5628014" cy="954107"/>
          </a:xfrm>
          <a:prstGeom prst="rect">
            <a:avLst/>
          </a:prstGeom>
          <a:solidFill>
            <a:schemeClr val="accent3">
              <a:lumMod val="20000"/>
              <a:lumOff val="80000"/>
            </a:schemeClr>
          </a:solidFill>
          <a:ln>
            <a:solidFill>
              <a:srgbClr val="ED7D31"/>
            </a:solid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pl-PL" sz="1600" b="1" i="0" u="none" strike="noStrike" kern="1200" cap="none" spc="0" normalizeH="0" baseline="0" noProof="0" dirty="0">
                <a:ln>
                  <a:noFill/>
                </a:ln>
                <a:solidFill>
                  <a:prstClr val="black"/>
                </a:solidFill>
                <a:effectLst/>
                <a:uLnTx/>
                <a:uFillTx/>
                <a:latin typeface="Calibri" panose="020F0502020204030204"/>
                <a:ea typeface="+mn-ea"/>
              </a:rPr>
              <a:t>Language Supported Text</a:t>
            </a:r>
            <a:r>
              <a:rPr kumimoji="0" lang="de-CH" sz="1600" b="1" i="0" u="none" strike="noStrike" kern="1200" cap="none" spc="0" normalizeH="0" baseline="0" noProof="0" dirty="0">
                <a:ln>
                  <a:noFill/>
                </a:ln>
                <a:solidFill>
                  <a:prstClr val="black"/>
                </a:solidFill>
                <a:effectLst/>
                <a:uLnTx/>
                <a:uFillTx/>
                <a:latin typeface="Calibri" panose="020F0502020204030204"/>
                <a:ea typeface="+mn-ea"/>
              </a:rPr>
              <a:t> (Text </a:t>
            </a:r>
            <a:r>
              <a:rPr lang="de-CH" sz="1600" b="1" kern="1200" dirty="0">
                <a:solidFill>
                  <a:prstClr val="black"/>
                </a:solidFill>
                <a:latin typeface="Calibri" panose="020F0502020204030204"/>
                <a:ea typeface="+mn-ea"/>
              </a:rPr>
              <a:t>catalogue)</a:t>
            </a:r>
            <a:endParaRPr kumimoji="0" lang="pl-PL" sz="1600" b="1" i="0" u="none" strike="noStrike" kern="1200" cap="none" spc="0" normalizeH="0" baseline="0" noProof="0" dirty="0">
              <a:ln>
                <a:noFill/>
              </a:ln>
              <a:solidFill>
                <a:prstClr val="black"/>
              </a:solidFill>
              <a:effectLst/>
              <a:uLnTx/>
              <a:uFillTx/>
              <a:latin typeface="Calibri" panose="020F0502020204030204"/>
              <a:ea typeface="+mn-ea"/>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prstClr val="black"/>
                </a:solidFill>
                <a:effectLst/>
                <a:uLnTx/>
                <a:uFillTx/>
                <a:latin typeface="Calibri" panose="020F0502020204030204"/>
                <a:ea typeface="+mn-ea"/>
              </a:rPr>
              <a:t>Application / Key	ENG		</a:t>
            </a:r>
            <a:r>
              <a:rPr kumimoji="0" lang="de-CH" sz="1200" b="1" i="0" u="none" strike="noStrike" kern="1200" cap="none" spc="0" normalizeH="0" baseline="0" noProof="0" dirty="0">
                <a:ln>
                  <a:noFill/>
                </a:ln>
                <a:solidFill>
                  <a:prstClr val="black"/>
                </a:solidFill>
                <a:effectLst/>
                <a:uLnTx/>
                <a:uFillTx/>
                <a:latin typeface="Calibri" panose="020F0502020204030204"/>
                <a:ea typeface="+mn-ea"/>
              </a:rPr>
              <a:t>   </a:t>
            </a:r>
            <a:r>
              <a:rPr kumimoji="0" lang="pl-PL" sz="1200" b="1" i="0" u="none" strike="noStrike" kern="1200" cap="none" spc="0" normalizeH="0" baseline="0" noProof="0" dirty="0">
                <a:ln>
                  <a:noFill/>
                </a:ln>
                <a:solidFill>
                  <a:prstClr val="black"/>
                </a:solidFill>
                <a:effectLst/>
                <a:uLnTx/>
                <a:uFillTx/>
                <a:latin typeface="Calibri" panose="020F0502020204030204"/>
                <a:ea typeface="+mn-ea"/>
              </a:rPr>
              <a:t>GER</a:t>
            </a:r>
          </a:p>
          <a:p>
            <a:pPr marL="0" marR="0" lvl="0" indent="0" algn="l" defTabSz="91440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lt;%Main menu%&gt;	Main Menu	</a:t>
            </a:r>
            <a:r>
              <a:rPr kumimoji="0" lang="de-CH" sz="1400" b="0" i="0" u="none" strike="noStrike" kern="1200" cap="none" spc="0" normalizeH="0" baseline="0" noProof="0" dirty="0">
                <a:ln>
                  <a:noFill/>
                </a:ln>
                <a:solidFill>
                  <a:prstClr val="black"/>
                </a:solidFill>
                <a:effectLst/>
                <a:uLnTx/>
                <a:uFillTx/>
                <a:latin typeface="Calibri" panose="020F0502020204030204"/>
                <a:ea typeface="+mn-ea"/>
              </a:rPr>
              <a:t>                          </a:t>
            </a: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Hauptmenü</a:t>
            </a:r>
          </a:p>
          <a:p>
            <a:pPr marL="0" marR="0" lvl="0" indent="0" algn="l" defTabSz="91440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lt;%On*Off*Auto%&gt;	On*Off*Automatic	</a:t>
            </a:r>
            <a:r>
              <a:rPr kumimoji="0" lang="de-CH" sz="1400" b="0" i="0" u="none" strike="noStrike" kern="1200" cap="none" spc="0" normalizeH="0" baseline="0" noProof="0" dirty="0">
                <a:ln>
                  <a:noFill/>
                </a:ln>
                <a:solidFill>
                  <a:prstClr val="black"/>
                </a:solidFill>
                <a:effectLst/>
                <a:uLnTx/>
                <a:uFillTx/>
                <a:latin typeface="Calibri" panose="020F0502020204030204"/>
                <a:ea typeface="+mn-ea"/>
              </a:rPr>
              <a:t>   </a:t>
            </a: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Ein*Aus*Automatisch</a:t>
            </a:r>
          </a:p>
        </p:txBody>
      </p:sp>
      <p:sp>
        <p:nvSpPr>
          <p:cNvPr id="73" name="pole tekstowe 39">
            <a:extLst>
              <a:ext uri="{FF2B5EF4-FFF2-40B4-BE49-F238E27FC236}">
                <a16:creationId xmlns:a16="http://schemas.microsoft.com/office/drawing/2014/main" id="{5D3F2879-8C2D-4421-953C-49A0204813D7}"/>
              </a:ext>
            </a:extLst>
          </p:cNvPr>
          <p:cNvSpPr txBox="1"/>
          <p:nvPr/>
        </p:nvSpPr>
        <p:spPr>
          <a:xfrm>
            <a:off x="2178496" y="5699098"/>
            <a:ext cx="6011348" cy="1169551"/>
          </a:xfrm>
          <a:prstGeom prst="rect">
            <a:avLst/>
          </a:prstGeom>
          <a:solidFill>
            <a:schemeClr val="accent5">
              <a:lumMod val="20000"/>
              <a:lumOff val="80000"/>
            </a:schemeClr>
          </a:solidFill>
          <a:ln w="38100">
            <a:solidFill>
              <a:srgbClr val="4472C4"/>
            </a:solid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CH" sz="1600" b="1" i="0" u="none" strike="noStrike" kern="1200" cap="none" spc="0" normalizeH="0" baseline="0" noProof="0" dirty="0">
                <a:ln>
                  <a:noFill/>
                </a:ln>
                <a:solidFill>
                  <a:prstClr val="black"/>
                </a:solidFill>
                <a:effectLst/>
                <a:uLnTx/>
                <a:uFillTx/>
                <a:latin typeface="Calibri" panose="020F0502020204030204"/>
                <a:ea typeface="+mn-ea"/>
              </a:rPr>
              <a:t>Mapping support</a:t>
            </a:r>
            <a:r>
              <a:rPr kumimoji="0" lang="de-CH" sz="1600" b="1" i="0" u="none" strike="noStrike" kern="1200" cap="none" spc="0" normalizeH="0" noProof="0" dirty="0">
                <a:ln>
                  <a:noFill/>
                </a:ln>
                <a:solidFill>
                  <a:prstClr val="black"/>
                </a:solidFill>
                <a:effectLst/>
                <a:uLnTx/>
                <a:uFillTx/>
                <a:latin typeface="Calibri" panose="020F0502020204030204"/>
                <a:ea typeface="+mn-ea"/>
              </a:rPr>
              <a:t> (</a:t>
            </a:r>
            <a:r>
              <a:rPr lang="pl-PL" sz="1600" b="1" kern="1200" dirty="0">
                <a:solidFill>
                  <a:prstClr val="black"/>
                </a:solidFill>
                <a:latin typeface="Calibri" panose="020F0502020204030204"/>
              </a:rPr>
              <a:t>Object</a:t>
            </a:r>
            <a:r>
              <a:rPr lang="de-CH" sz="1600" b="1" kern="1200" dirty="0">
                <a:solidFill>
                  <a:prstClr val="black"/>
                </a:solidFill>
                <a:latin typeface="Calibri" panose="020F0502020204030204"/>
              </a:rPr>
              <a:t> member</a:t>
            </a:r>
            <a:r>
              <a:rPr lang="pl-PL" sz="1600" b="1" kern="1200" dirty="0">
                <a:solidFill>
                  <a:prstClr val="black"/>
                </a:solidFill>
                <a:latin typeface="Calibri" panose="020F0502020204030204"/>
              </a:rPr>
              <a:t> Text</a:t>
            </a:r>
            <a:r>
              <a:rPr lang="de-CH" sz="1600" b="1" kern="1200" dirty="0">
                <a:solidFill>
                  <a:prstClr val="black"/>
                </a:solidFill>
                <a:latin typeface="Calibri" panose="020F0502020204030204"/>
              </a:rPr>
              <a:t>)</a:t>
            </a:r>
            <a:endParaRPr kumimoji="0" lang="pl-PL" sz="1600" b="1" i="0" u="none" strike="noStrike" kern="1200" cap="none" spc="0" normalizeH="0" baseline="0" noProof="0" dirty="0">
              <a:ln>
                <a:noFill/>
              </a:ln>
              <a:solidFill>
                <a:prstClr val="black"/>
              </a:solidFill>
              <a:effectLst/>
              <a:uLnTx/>
              <a:uFillTx/>
              <a:latin typeface="Calibri" panose="020F0502020204030204"/>
              <a:ea typeface="+mn-ea"/>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a:ln>
                  <a:noFill/>
                </a:ln>
                <a:solidFill>
                  <a:prstClr val="black"/>
                </a:solidFill>
                <a:effectLst/>
                <a:uLnTx/>
                <a:uFillTx/>
                <a:latin typeface="Calibri" panose="020F0502020204030204"/>
                <a:ea typeface="+mn-ea"/>
              </a:rPr>
              <a:t>Application		ENG		</a:t>
            </a:r>
            <a:r>
              <a:rPr kumimoji="0" lang="de-CH" sz="1200" b="1" i="0" u="none" strike="noStrike" kern="1200" cap="none" spc="0" normalizeH="0" baseline="0" noProof="0" dirty="0">
                <a:ln>
                  <a:noFill/>
                </a:ln>
                <a:solidFill>
                  <a:prstClr val="black"/>
                </a:solidFill>
                <a:effectLst/>
                <a:uLnTx/>
                <a:uFillTx/>
                <a:latin typeface="Calibri" panose="020F0502020204030204"/>
                <a:ea typeface="+mn-ea"/>
              </a:rPr>
              <a:t>   </a:t>
            </a:r>
            <a:r>
              <a:rPr kumimoji="0" lang="pl-PL" sz="1200" b="1" i="0" u="none" strike="noStrike" kern="1200" cap="none" spc="0" normalizeH="0" baseline="0" noProof="0" dirty="0">
                <a:ln>
                  <a:noFill/>
                </a:ln>
                <a:solidFill>
                  <a:prstClr val="black"/>
                </a:solidFill>
                <a:effectLst/>
                <a:uLnTx/>
                <a:uFillTx/>
                <a:latin typeface="Calibri" panose="020F0502020204030204"/>
                <a:ea typeface="+mn-ea"/>
              </a:rPr>
              <a:t>GER</a:t>
            </a:r>
          </a:p>
          <a:p>
            <a:pPr marL="0" marR="0" lvl="0" indent="0" algn="l" defTabSz="91440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PltSwi		Plant switch	</a:t>
            </a:r>
            <a:r>
              <a:rPr kumimoji="0" lang="de-CH" sz="1400" b="0" i="0" u="none" strike="noStrike" kern="1200" cap="none" spc="0" normalizeH="0" baseline="0" noProof="0" dirty="0">
                <a:ln>
                  <a:noFill/>
                </a:ln>
                <a:solidFill>
                  <a:prstClr val="black"/>
                </a:solidFill>
                <a:effectLst/>
                <a:uLnTx/>
                <a:uFillTx/>
                <a:latin typeface="Calibri" panose="020F0502020204030204"/>
                <a:ea typeface="+mn-ea"/>
              </a:rPr>
              <a:t>                          </a:t>
            </a: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Gerätemodus</a:t>
            </a:r>
          </a:p>
          <a:p>
            <a:pPr marL="0" marR="0" lvl="0" indent="0" algn="l" defTabSz="91440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TsuSp		T-supply setpoint	</a:t>
            </a:r>
            <a:r>
              <a:rPr kumimoji="0" lang="de-CH" sz="1400" b="0" i="0" u="none" strike="noStrike" kern="1200" cap="none" spc="0" normalizeH="0" baseline="0" noProof="0" dirty="0">
                <a:ln>
                  <a:noFill/>
                </a:ln>
                <a:solidFill>
                  <a:prstClr val="black"/>
                </a:solidFill>
                <a:effectLst/>
                <a:uLnTx/>
                <a:uFillTx/>
                <a:latin typeface="Calibri" panose="020F0502020204030204"/>
                <a:ea typeface="+mn-ea"/>
              </a:rPr>
              <a:t>   </a:t>
            </a: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Vorlauftemperatur-Sollwert</a:t>
            </a:r>
          </a:p>
          <a:p>
            <a:pPr marL="0" marR="0" lvl="0" indent="0" algn="l" defTabSz="91440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Tsu		Supply temp. 	</a:t>
            </a:r>
            <a:r>
              <a:rPr kumimoji="0" lang="de-CH" sz="1400" b="0" i="0" u="none" strike="noStrike" kern="1200" cap="none" spc="0" normalizeH="0" baseline="0" noProof="0" dirty="0">
                <a:ln>
                  <a:noFill/>
                </a:ln>
                <a:solidFill>
                  <a:prstClr val="black"/>
                </a:solidFill>
                <a:effectLst/>
                <a:uLnTx/>
                <a:uFillTx/>
                <a:latin typeface="Calibri" panose="020F0502020204030204"/>
                <a:ea typeface="+mn-ea"/>
              </a:rPr>
              <a:t>   </a:t>
            </a:r>
            <a:r>
              <a:rPr kumimoji="0" lang="pl-PL" sz="1400" b="0" i="0" u="none" strike="noStrike" kern="1200" cap="none" spc="0" normalizeH="0" baseline="0" noProof="0" dirty="0">
                <a:ln>
                  <a:noFill/>
                </a:ln>
                <a:solidFill>
                  <a:prstClr val="black"/>
                </a:solidFill>
                <a:effectLst/>
                <a:uLnTx/>
                <a:uFillTx/>
                <a:latin typeface="Calibri" panose="020F0502020204030204"/>
                <a:ea typeface="+mn-ea"/>
              </a:rPr>
              <a:t>Vorlauftemperatur</a:t>
            </a:r>
          </a:p>
        </p:txBody>
      </p:sp>
      <p:grpSp>
        <p:nvGrpSpPr>
          <p:cNvPr id="79" name="Gruppieren 78">
            <a:extLst>
              <a:ext uri="{FF2B5EF4-FFF2-40B4-BE49-F238E27FC236}">
                <a16:creationId xmlns:a16="http://schemas.microsoft.com/office/drawing/2014/main" id="{8D33825A-9BDE-46A8-9BA9-BEF94AA593DC}"/>
              </a:ext>
            </a:extLst>
          </p:cNvPr>
          <p:cNvGrpSpPr/>
          <p:nvPr/>
        </p:nvGrpSpPr>
        <p:grpSpPr>
          <a:xfrm>
            <a:off x="2948937" y="651156"/>
            <a:ext cx="6232031" cy="1548083"/>
            <a:chOff x="2948937" y="651156"/>
            <a:chExt cx="6232031" cy="1548083"/>
          </a:xfrm>
        </p:grpSpPr>
        <p:sp>
          <p:nvSpPr>
            <p:cNvPr id="52" name="Łuk 16">
              <a:extLst>
                <a:ext uri="{FF2B5EF4-FFF2-40B4-BE49-F238E27FC236}">
                  <a16:creationId xmlns:a16="http://schemas.microsoft.com/office/drawing/2014/main" id="{5102D233-F7A6-4A81-BC36-42A6A222DF17}"/>
                </a:ext>
              </a:extLst>
            </p:cNvPr>
            <p:cNvSpPr/>
            <p:nvPr/>
          </p:nvSpPr>
          <p:spPr>
            <a:xfrm rot="21193565">
              <a:off x="3812791" y="1398694"/>
              <a:ext cx="4804926" cy="544971"/>
            </a:xfrm>
            <a:custGeom>
              <a:avLst/>
              <a:gdLst>
                <a:gd name="connsiteX0" fmla="*/ 1080603 w 5944560"/>
                <a:gd name="connsiteY0" fmla="*/ 124620 h 1089942"/>
                <a:gd name="connsiteX1" fmla="*/ 3021887 w 5944560"/>
                <a:gd name="connsiteY1" fmla="*/ 75 h 1089942"/>
                <a:gd name="connsiteX2" fmla="*/ 5885529 w 5944560"/>
                <a:gd name="connsiteY2" fmla="*/ 436897 h 1089942"/>
                <a:gd name="connsiteX3" fmla="*/ 2972280 w 5944560"/>
                <a:gd name="connsiteY3" fmla="*/ 544971 h 1089942"/>
                <a:gd name="connsiteX4" fmla="*/ 1080603 w 5944560"/>
                <a:gd name="connsiteY4" fmla="*/ 124620 h 1089942"/>
                <a:gd name="connsiteX0" fmla="*/ 1080603 w 5944560"/>
                <a:gd name="connsiteY0" fmla="*/ 124620 h 1089942"/>
                <a:gd name="connsiteX1" fmla="*/ 3021887 w 5944560"/>
                <a:gd name="connsiteY1" fmla="*/ 75 h 1089942"/>
                <a:gd name="connsiteX2" fmla="*/ 5885529 w 5944560"/>
                <a:gd name="connsiteY2" fmla="*/ 436897 h 1089942"/>
                <a:gd name="connsiteX0" fmla="*/ 0 w 4804926"/>
                <a:gd name="connsiteY0" fmla="*/ 124620 h 544971"/>
                <a:gd name="connsiteX1" fmla="*/ 1941284 w 4804926"/>
                <a:gd name="connsiteY1" fmla="*/ 75 h 544971"/>
                <a:gd name="connsiteX2" fmla="*/ 4804926 w 4804926"/>
                <a:gd name="connsiteY2" fmla="*/ 436897 h 544971"/>
                <a:gd name="connsiteX3" fmla="*/ 1891677 w 4804926"/>
                <a:gd name="connsiteY3" fmla="*/ 544971 h 544971"/>
                <a:gd name="connsiteX4" fmla="*/ 0 w 4804926"/>
                <a:gd name="connsiteY4" fmla="*/ 124620 h 544971"/>
                <a:gd name="connsiteX0" fmla="*/ 0 w 4804926"/>
                <a:gd name="connsiteY0" fmla="*/ 124620 h 544971"/>
                <a:gd name="connsiteX1" fmla="*/ 1941284 w 4804926"/>
                <a:gd name="connsiteY1" fmla="*/ 75 h 544971"/>
                <a:gd name="connsiteX2" fmla="*/ 4804926 w 4804926"/>
                <a:gd name="connsiteY2" fmla="*/ 436897 h 544971"/>
                <a:gd name="connsiteX0" fmla="*/ 0 w 4804926"/>
                <a:gd name="connsiteY0" fmla="*/ 124620 h 544971"/>
                <a:gd name="connsiteX1" fmla="*/ 1941284 w 4804926"/>
                <a:gd name="connsiteY1" fmla="*/ 75 h 544971"/>
                <a:gd name="connsiteX2" fmla="*/ 4804926 w 4804926"/>
                <a:gd name="connsiteY2" fmla="*/ 436897 h 544971"/>
                <a:gd name="connsiteX3" fmla="*/ 1891677 w 4804926"/>
                <a:gd name="connsiteY3" fmla="*/ 544971 h 544971"/>
                <a:gd name="connsiteX4" fmla="*/ 0 w 4804926"/>
                <a:gd name="connsiteY4" fmla="*/ 124620 h 544971"/>
                <a:gd name="connsiteX0" fmla="*/ 0 w 4804926"/>
                <a:gd name="connsiteY0" fmla="*/ 124620 h 544971"/>
                <a:gd name="connsiteX1" fmla="*/ 1793427 w 4804926"/>
                <a:gd name="connsiteY1" fmla="*/ 56178 h 544971"/>
                <a:gd name="connsiteX2" fmla="*/ 4804926 w 4804926"/>
                <a:gd name="connsiteY2" fmla="*/ 436897 h 544971"/>
              </a:gdLst>
              <a:ahLst/>
              <a:cxnLst>
                <a:cxn ang="0">
                  <a:pos x="connsiteX0" y="connsiteY0"/>
                </a:cxn>
                <a:cxn ang="0">
                  <a:pos x="connsiteX1" y="connsiteY1"/>
                </a:cxn>
                <a:cxn ang="0">
                  <a:pos x="connsiteX2" y="connsiteY2"/>
                </a:cxn>
              </a:cxnLst>
              <a:rect l="l" t="t" r="r" b="b"/>
              <a:pathLst>
                <a:path w="4804926" h="544971" stroke="0" extrusionOk="0">
                  <a:moveTo>
                    <a:pt x="0" y="124620"/>
                  </a:moveTo>
                  <a:cubicBezTo>
                    <a:pt x="545643" y="42071"/>
                    <a:pt x="1233974" y="-2089"/>
                    <a:pt x="1941284" y="75"/>
                  </a:cubicBezTo>
                  <a:cubicBezTo>
                    <a:pt x="3336804" y="4346"/>
                    <a:pt x="4094451" y="116143"/>
                    <a:pt x="4804926" y="436897"/>
                  </a:cubicBezTo>
                  <a:lnTo>
                    <a:pt x="1891677" y="544971"/>
                  </a:lnTo>
                  <a:lnTo>
                    <a:pt x="0" y="124620"/>
                  </a:lnTo>
                  <a:close/>
                </a:path>
                <a:path w="4804926" h="544971" fill="none">
                  <a:moveTo>
                    <a:pt x="0" y="124620"/>
                  </a:moveTo>
                  <a:cubicBezTo>
                    <a:pt x="545643" y="42071"/>
                    <a:pt x="1086117" y="54014"/>
                    <a:pt x="1793427" y="56178"/>
                  </a:cubicBezTo>
                  <a:cubicBezTo>
                    <a:pt x="3188947" y="60449"/>
                    <a:pt x="4528142" y="186074"/>
                    <a:pt x="4804926" y="436897"/>
                  </a:cubicBezTo>
                </a:path>
              </a:pathLst>
            </a:custGeom>
            <a:noFill/>
            <a:ln w="38100" cap="flat" cmpd="sng" algn="ctr">
              <a:solidFill>
                <a:srgbClr val="ED7D31"/>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54" name="Łącznik prosty ze strzałką 14">
              <a:extLst>
                <a:ext uri="{FF2B5EF4-FFF2-40B4-BE49-F238E27FC236}">
                  <a16:creationId xmlns:a16="http://schemas.microsoft.com/office/drawing/2014/main" id="{214CE9D2-141F-47CD-8075-254CE7A342EE}"/>
                </a:ext>
              </a:extLst>
            </p:cNvPr>
            <p:cNvCxnSpPr>
              <a:cxnSpLocks/>
              <a:stCxn id="52" idx="2"/>
            </p:cNvCxnSpPr>
            <p:nvPr/>
          </p:nvCxnSpPr>
          <p:spPr>
            <a:xfrm>
              <a:off x="8620339" y="1551068"/>
              <a:ext cx="560629" cy="472093"/>
            </a:xfrm>
            <a:prstGeom prst="straightConnector1">
              <a:avLst/>
            </a:prstGeom>
            <a:noFill/>
            <a:ln w="38100" cap="flat" cmpd="sng" algn="ctr">
              <a:solidFill>
                <a:srgbClr val="ED7D31"/>
              </a:solidFill>
              <a:prstDash val="solid"/>
              <a:miter lim="800000"/>
              <a:tailEnd type="triangle"/>
            </a:ln>
            <a:effectLst/>
          </p:spPr>
        </p:cxnSp>
        <p:sp>
          <p:nvSpPr>
            <p:cNvPr id="58" name="Strzałka: pięciokąt 13">
              <a:extLst>
                <a:ext uri="{FF2B5EF4-FFF2-40B4-BE49-F238E27FC236}">
                  <a16:creationId xmlns:a16="http://schemas.microsoft.com/office/drawing/2014/main" id="{A3C32E91-6692-47EF-8E33-779BBE4C17EC}"/>
                </a:ext>
              </a:extLst>
            </p:cNvPr>
            <p:cNvSpPr/>
            <p:nvPr/>
          </p:nvSpPr>
          <p:spPr>
            <a:xfrm flipH="1">
              <a:off x="2948937" y="1752026"/>
              <a:ext cx="873254" cy="192598"/>
            </a:xfrm>
            <a:prstGeom prst="homePlate">
              <a:avLst>
                <a:gd name="adj" fmla="val 0"/>
              </a:avLst>
            </a:prstGeom>
            <a:solidFill>
              <a:srgbClr val="ED7D31"/>
            </a:solidFill>
            <a:ln w="12700" cap="flat" cmpd="sng" algn="ctr">
              <a:solidFill>
                <a:srgbClr val="ED7D31">
                  <a:shade val="50000"/>
                </a:srgbClr>
              </a:solidFill>
              <a:prstDash val="solid"/>
              <a:miter lim="800000"/>
            </a:ln>
            <a:effectLst/>
          </p:spPr>
          <p:txBody>
            <a:bodyPr lIns="0" tIns="0" rIns="3600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200" b="1" i="0" u="none" strike="noStrike" kern="1200" cap="none" spc="0" normalizeH="0" baseline="0" noProof="0" dirty="0" err="1">
                  <a:ln>
                    <a:noFill/>
                  </a:ln>
                  <a:solidFill>
                    <a:prstClr val="white"/>
                  </a:solidFill>
                  <a:effectLst/>
                  <a:uLnTx/>
                  <a:uFillTx/>
                  <a:latin typeface="Calibri" panose="020F0502020204030204"/>
                  <a:ea typeface="+mn-ea"/>
                  <a:cs typeface="+mn-cs"/>
                </a:rPr>
                <a:t>Languages</a:t>
              </a:r>
              <a:endParaRPr kumimoji="0" lang="pl-PL"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6" name="Łuk 16">
              <a:extLst>
                <a:ext uri="{FF2B5EF4-FFF2-40B4-BE49-F238E27FC236}">
                  <a16:creationId xmlns:a16="http://schemas.microsoft.com/office/drawing/2014/main" id="{86246617-C2B7-4E16-A71D-D328960F86FF}"/>
                </a:ext>
              </a:extLst>
            </p:cNvPr>
            <p:cNvSpPr/>
            <p:nvPr/>
          </p:nvSpPr>
          <p:spPr>
            <a:xfrm rot="21446685" flipV="1">
              <a:off x="3450043" y="651156"/>
              <a:ext cx="4104904" cy="1548083"/>
            </a:xfrm>
            <a:prstGeom prst="arc">
              <a:avLst>
                <a:gd name="adj1" fmla="val 11551690"/>
                <a:gd name="adj2" fmla="val 20003131"/>
              </a:avLst>
            </a:prstGeom>
            <a:noFill/>
            <a:ln w="38100" cap="flat" cmpd="sng" algn="ctr">
              <a:solidFill>
                <a:srgbClr val="ED7D31"/>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7" name="Freihandform: Form 76">
            <a:extLst>
              <a:ext uri="{FF2B5EF4-FFF2-40B4-BE49-F238E27FC236}">
                <a16:creationId xmlns:a16="http://schemas.microsoft.com/office/drawing/2014/main" id="{F20C0A4C-5EE4-4800-9637-9526D0DAF1FB}"/>
              </a:ext>
            </a:extLst>
          </p:cNvPr>
          <p:cNvSpPr/>
          <p:nvPr/>
        </p:nvSpPr>
        <p:spPr bwMode="auto">
          <a:xfrm>
            <a:off x="5258330" y="2554144"/>
            <a:ext cx="3909172" cy="2847300"/>
          </a:xfrm>
          <a:custGeom>
            <a:avLst/>
            <a:gdLst>
              <a:gd name="connsiteX0" fmla="*/ 414337 w 1790536"/>
              <a:gd name="connsiteY0" fmla="*/ 3729038 h 3729038"/>
              <a:gd name="connsiteX1" fmla="*/ 1785937 w 1790536"/>
              <a:gd name="connsiteY1" fmla="*/ 1628775 h 3729038"/>
              <a:gd name="connsiteX2" fmla="*/ 0 w 1790536"/>
              <a:gd name="connsiteY2" fmla="*/ 0 h 3729038"/>
              <a:gd name="connsiteX0" fmla="*/ 0 w 2199748"/>
              <a:gd name="connsiteY0" fmla="*/ 3906019 h 3906019"/>
              <a:gd name="connsiteX1" fmla="*/ 2197510 w 2199748"/>
              <a:gd name="connsiteY1" fmla="*/ 1628775 h 3906019"/>
              <a:gd name="connsiteX2" fmla="*/ 411573 w 2199748"/>
              <a:gd name="connsiteY2" fmla="*/ 0 h 3906019"/>
              <a:gd name="connsiteX0" fmla="*/ 0 w 2200103"/>
              <a:gd name="connsiteY0" fmla="*/ 3906019 h 3906019"/>
              <a:gd name="connsiteX1" fmla="*/ 2197510 w 2200103"/>
              <a:gd name="connsiteY1" fmla="*/ 1628775 h 3906019"/>
              <a:gd name="connsiteX2" fmla="*/ 411573 w 2200103"/>
              <a:gd name="connsiteY2" fmla="*/ 0 h 3906019"/>
              <a:gd name="connsiteX0" fmla="*/ 0 w 1494847"/>
              <a:gd name="connsiteY0" fmla="*/ 3906019 h 3906019"/>
              <a:gd name="connsiteX1" fmla="*/ 1489588 w 1494847"/>
              <a:gd name="connsiteY1" fmla="*/ 1466543 h 3906019"/>
              <a:gd name="connsiteX2" fmla="*/ 411573 w 1494847"/>
              <a:gd name="connsiteY2" fmla="*/ 0 h 3906019"/>
              <a:gd name="connsiteX0" fmla="*/ 0 w 28873119"/>
              <a:gd name="connsiteY0" fmla="*/ 2930836 h 2930836"/>
              <a:gd name="connsiteX1" fmla="*/ 28872993 w 28873119"/>
              <a:gd name="connsiteY1" fmla="*/ 1466543 h 2930836"/>
              <a:gd name="connsiteX2" fmla="*/ 27794978 w 28873119"/>
              <a:gd name="connsiteY2" fmla="*/ 0 h 2930836"/>
              <a:gd name="connsiteX0" fmla="*/ 0 w 28116596"/>
              <a:gd name="connsiteY0" fmla="*/ 2930836 h 2930836"/>
              <a:gd name="connsiteX1" fmla="*/ 27582985 w 28116596"/>
              <a:gd name="connsiteY1" fmla="*/ 1970122 h 2930836"/>
              <a:gd name="connsiteX2" fmla="*/ 27794978 w 28116596"/>
              <a:gd name="connsiteY2" fmla="*/ 0 h 2930836"/>
              <a:gd name="connsiteX0" fmla="*/ 0 w 28674285"/>
              <a:gd name="connsiteY0" fmla="*/ 2930836 h 2930836"/>
              <a:gd name="connsiteX1" fmla="*/ 27582985 w 28674285"/>
              <a:gd name="connsiteY1" fmla="*/ 1970122 h 2930836"/>
              <a:gd name="connsiteX2" fmla="*/ 27794978 w 28674285"/>
              <a:gd name="connsiteY2" fmla="*/ 0 h 2930836"/>
              <a:gd name="connsiteX0" fmla="*/ 0 w 30081561"/>
              <a:gd name="connsiteY0" fmla="*/ 2986789 h 2986789"/>
              <a:gd name="connsiteX1" fmla="*/ 28990269 w 30081561"/>
              <a:gd name="connsiteY1" fmla="*/ 1970122 h 2986789"/>
              <a:gd name="connsiteX2" fmla="*/ 29202262 w 30081561"/>
              <a:gd name="connsiteY2" fmla="*/ 0 h 2986789"/>
            </a:gdLst>
            <a:ahLst/>
            <a:cxnLst>
              <a:cxn ang="0">
                <a:pos x="connsiteX0" y="connsiteY0"/>
              </a:cxn>
              <a:cxn ang="0">
                <a:pos x="connsiteX1" y="connsiteY1"/>
              </a:cxn>
              <a:cxn ang="0">
                <a:pos x="connsiteX2" y="connsiteY2"/>
              </a:cxn>
            </a:cxnLst>
            <a:rect l="l" t="t" r="r" b="b"/>
            <a:pathLst>
              <a:path w="30081561" h="2986789">
                <a:moveTo>
                  <a:pt x="0" y="2986789"/>
                </a:moveTo>
                <a:cubicBezTo>
                  <a:pt x="941554" y="2866842"/>
                  <a:pt x="29059325" y="2591628"/>
                  <a:pt x="28990269" y="1970122"/>
                </a:cubicBezTo>
                <a:cubicBezTo>
                  <a:pt x="30738955" y="1332630"/>
                  <a:pt x="30060702" y="503634"/>
                  <a:pt x="29202262" y="0"/>
                </a:cubicBezTo>
              </a:path>
            </a:pathLst>
          </a:custGeom>
          <a:noFill/>
          <a:ln w="44450">
            <a:solidFill>
              <a:srgbClr val="7030A0"/>
            </a:solidFill>
            <a:miter lim="800000"/>
            <a:headEnd type="none"/>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8" name="Rechteck 7">
            <a:extLst>
              <a:ext uri="{FF2B5EF4-FFF2-40B4-BE49-F238E27FC236}">
                <a16:creationId xmlns:a16="http://schemas.microsoft.com/office/drawing/2014/main" id="{9818F966-5780-4B83-8DCA-543E19247291}"/>
              </a:ext>
            </a:extLst>
          </p:cNvPr>
          <p:cNvSpPr/>
          <p:nvPr/>
        </p:nvSpPr>
        <p:spPr bwMode="auto">
          <a:xfrm>
            <a:off x="6804660" y="2054393"/>
            <a:ext cx="2511037" cy="455832"/>
          </a:xfrm>
          <a:prstGeom prst="rect">
            <a:avLst/>
          </a:prstGeom>
          <a:noFill/>
          <a:ln w="57150">
            <a:solidFill>
              <a:srgbClr val="4472C4"/>
            </a:solidFill>
            <a:miter lim="800000"/>
            <a:headEnd/>
            <a:tailEnd/>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grpSp>
        <p:nvGrpSpPr>
          <p:cNvPr id="2" name="Gruppieren 1">
            <a:extLst>
              <a:ext uri="{FF2B5EF4-FFF2-40B4-BE49-F238E27FC236}">
                <a16:creationId xmlns:a16="http://schemas.microsoft.com/office/drawing/2014/main" id="{FE9ADEFA-07B3-4F56-8492-61CBD209DE0E}"/>
              </a:ext>
            </a:extLst>
          </p:cNvPr>
          <p:cNvGrpSpPr/>
          <p:nvPr/>
        </p:nvGrpSpPr>
        <p:grpSpPr>
          <a:xfrm>
            <a:off x="6731724" y="1753265"/>
            <a:ext cx="2248837" cy="2748195"/>
            <a:chOff x="6731724" y="1753265"/>
            <a:chExt cx="2248837" cy="2748195"/>
          </a:xfrm>
        </p:grpSpPr>
        <p:sp>
          <p:nvSpPr>
            <p:cNvPr id="63" name="Textfeld 62">
              <a:extLst>
                <a:ext uri="{FF2B5EF4-FFF2-40B4-BE49-F238E27FC236}">
                  <a16:creationId xmlns:a16="http://schemas.microsoft.com/office/drawing/2014/main" id="{C0B2FE8C-BB83-4E6E-899E-8EFB84B050D1}"/>
                </a:ext>
              </a:extLst>
            </p:cNvPr>
            <p:cNvSpPr txBox="1"/>
            <p:nvPr/>
          </p:nvSpPr>
          <p:spPr>
            <a:xfrm>
              <a:off x="7408669" y="2506051"/>
              <a:ext cx="1224280" cy="307777"/>
            </a:xfrm>
            <a:prstGeom prst="rect">
              <a:avLst/>
            </a:prstGeom>
            <a:noFill/>
          </p:spPr>
          <p:txBody>
            <a:bodyPr wrap="square">
              <a:spAutoFit/>
            </a:bodyPr>
            <a:lstStyle/>
            <a:p>
              <a:pPr algn="l"/>
              <a:r>
                <a:rPr kumimoji="0" lang="pl-PL" sz="1400" b="0" i="1" u="none" strike="noStrike" kern="1200" cap="none" spc="0" normalizeH="0" baseline="0" noProof="0" dirty="0">
                  <a:ln>
                    <a:noFill/>
                  </a:ln>
                  <a:solidFill>
                    <a:schemeClr val="tx1">
                      <a:lumMod val="75000"/>
                      <a:lumOff val="25000"/>
                    </a:schemeClr>
                  </a:solidFill>
                  <a:effectLst/>
                  <a:highlight>
                    <a:srgbClr val="CED8E0"/>
                  </a:highlight>
                  <a:uLnTx/>
                  <a:uFillTx/>
                  <a:latin typeface="Calibri" panose="020F0502020204030204"/>
                  <a:ea typeface="+mn-ea"/>
                </a:rPr>
                <a:t>page element</a:t>
              </a:r>
              <a:endParaRPr lang="en-US" sz="1400" dirty="0">
                <a:solidFill>
                  <a:schemeClr val="tx1">
                    <a:lumMod val="75000"/>
                    <a:lumOff val="25000"/>
                  </a:schemeClr>
                </a:solidFill>
                <a:highlight>
                  <a:srgbClr val="CED8E0"/>
                </a:highlight>
              </a:endParaRPr>
            </a:p>
          </p:txBody>
        </p:sp>
        <p:sp>
          <p:nvSpPr>
            <p:cNvPr id="19" name="Geschweifte Klammer rechts 18">
              <a:extLst>
                <a:ext uri="{FF2B5EF4-FFF2-40B4-BE49-F238E27FC236}">
                  <a16:creationId xmlns:a16="http://schemas.microsoft.com/office/drawing/2014/main" id="{5A4B4BF5-0028-434A-9540-D977A5AB9646}"/>
                </a:ext>
              </a:extLst>
            </p:cNvPr>
            <p:cNvSpPr/>
            <p:nvPr/>
          </p:nvSpPr>
          <p:spPr bwMode="auto">
            <a:xfrm>
              <a:off x="7180658" y="2511495"/>
              <a:ext cx="236142" cy="330502"/>
            </a:xfrm>
            <a:prstGeom prst="rightBrace">
              <a:avLst>
                <a:gd name="adj1" fmla="val 30242"/>
                <a:gd name="adj2" fmla="val 50000"/>
              </a:avLst>
            </a:prstGeom>
            <a:noFill/>
            <a:ln w="38100" cap="flat" cmpd="sng" algn="ctr">
              <a:solidFill>
                <a:schemeClr val="tx1">
                  <a:lumMod val="85000"/>
                  <a:lumOff val="1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highlight>
                  <a:srgbClr val="CED8E0"/>
                </a:highlight>
                <a:latin typeface="Arial" charset="0"/>
                <a:ea typeface="ヒラギノ角ゴ Pro W3" charset="0"/>
              </a:endParaRPr>
            </a:p>
          </p:txBody>
        </p:sp>
        <p:sp>
          <p:nvSpPr>
            <p:cNvPr id="64" name="Textfeld 63">
              <a:extLst>
                <a:ext uri="{FF2B5EF4-FFF2-40B4-BE49-F238E27FC236}">
                  <a16:creationId xmlns:a16="http://schemas.microsoft.com/office/drawing/2014/main" id="{99D68FCC-6B80-4308-BA33-D359A281C89E}"/>
                </a:ext>
              </a:extLst>
            </p:cNvPr>
            <p:cNvSpPr txBox="1"/>
            <p:nvPr/>
          </p:nvSpPr>
          <p:spPr>
            <a:xfrm>
              <a:off x="7756281" y="1753265"/>
              <a:ext cx="1224280" cy="307777"/>
            </a:xfrm>
            <a:prstGeom prst="rect">
              <a:avLst/>
            </a:prstGeom>
            <a:noFill/>
          </p:spPr>
          <p:txBody>
            <a:bodyPr wrap="square">
              <a:spAutoFit/>
            </a:bodyPr>
            <a:lstStyle/>
            <a:p>
              <a:pPr algn="l"/>
              <a:r>
                <a:rPr kumimoji="0" lang="pl-PL" sz="1400" b="0" i="1" u="none" strike="noStrike" kern="1200" cap="none" spc="0" normalizeH="0" baseline="0" noProof="0" dirty="0">
                  <a:ln>
                    <a:noFill/>
                  </a:ln>
                  <a:solidFill>
                    <a:schemeClr val="tx1">
                      <a:lumMod val="75000"/>
                      <a:lumOff val="25000"/>
                    </a:schemeClr>
                  </a:solidFill>
                  <a:effectLst/>
                  <a:highlight>
                    <a:srgbClr val="CED8E0"/>
                  </a:highlight>
                  <a:uLnTx/>
                  <a:uFillTx/>
                  <a:latin typeface="Calibri" panose="020F0502020204030204"/>
                  <a:ea typeface="+mn-ea"/>
                </a:rPr>
                <a:t>page element</a:t>
              </a:r>
              <a:endParaRPr lang="en-US" sz="1400" dirty="0">
                <a:solidFill>
                  <a:schemeClr val="tx1">
                    <a:lumMod val="75000"/>
                    <a:lumOff val="25000"/>
                  </a:schemeClr>
                </a:solidFill>
                <a:highlight>
                  <a:srgbClr val="CED8E0"/>
                </a:highlight>
              </a:endParaRPr>
            </a:p>
          </p:txBody>
        </p:sp>
        <p:sp>
          <p:nvSpPr>
            <p:cNvPr id="71" name="pole tekstowe 40">
              <a:extLst>
                <a:ext uri="{FF2B5EF4-FFF2-40B4-BE49-F238E27FC236}">
                  <a16:creationId xmlns:a16="http://schemas.microsoft.com/office/drawing/2014/main" id="{DC8B5D5D-8604-4367-951F-35B720D45F58}"/>
                </a:ext>
              </a:extLst>
            </p:cNvPr>
            <p:cNvSpPr txBox="1"/>
            <p:nvPr/>
          </p:nvSpPr>
          <p:spPr>
            <a:xfrm>
              <a:off x="6731724" y="2901022"/>
              <a:ext cx="1879786" cy="1600438"/>
            </a:xfrm>
            <a:prstGeom prst="rect">
              <a:avLst/>
            </a:prstGeom>
            <a:solidFill>
              <a:schemeClr val="accent1">
                <a:lumMod val="40000"/>
                <a:lumOff val="60000"/>
              </a:schemeClr>
            </a:solidFill>
            <a:ln>
              <a:noFill/>
            </a:ln>
          </p:spPr>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e-CH" sz="1400" b="0" i="0" u="none" strike="noStrike" kern="1200" cap="none" spc="0" normalizeH="0" baseline="0" noProof="0" dirty="0">
                  <a:ln>
                    <a:noFill/>
                  </a:ln>
                  <a:solidFill>
                    <a:schemeClr val="tx1"/>
                  </a:solidFill>
                  <a:effectLst/>
                  <a:uLnTx/>
                  <a:uFillTx/>
                  <a:latin typeface="Calibri" panose="020F0502020204030204"/>
                  <a:ea typeface="+mn-ea"/>
                </a:rPr>
                <a:t>The </a:t>
              </a:r>
              <a:r>
                <a:rPr kumimoji="0" lang="de-CH" sz="1400" b="1" i="0" u="none" strike="noStrike" kern="1200" cap="none" spc="0" normalizeH="0" baseline="0" noProof="0" dirty="0" err="1">
                  <a:ln>
                    <a:noFill/>
                  </a:ln>
                  <a:solidFill>
                    <a:schemeClr val="tx1"/>
                  </a:solidFill>
                  <a:effectLst/>
                  <a:uLnTx/>
                  <a:uFillTx/>
                  <a:latin typeface="Calibri" panose="020F0502020204030204"/>
                  <a:ea typeface="+mn-ea"/>
                </a:rPr>
                <a:t>page</a:t>
              </a:r>
              <a:r>
                <a:rPr kumimoji="0" lang="de-CH" sz="1400" b="1" i="0" u="none" strike="noStrike" kern="1200" cap="none" spc="0" normalizeH="0" baseline="0" noProof="0" dirty="0">
                  <a:ln>
                    <a:noFill/>
                  </a:ln>
                  <a:solidFill>
                    <a:schemeClr val="tx1"/>
                  </a:solidFill>
                  <a:effectLst/>
                  <a:uLnTx/>
                  <a:uFillTx/>
                  <a:latin typeface="Calibri" panose="020F0502020204030204"/>
                  <a:ea typeface="+mn-ea"/>
                </a:rPr>
                <a:t> </a:t>
              </a:r>
              <a:r>
                <a:rPr kumimoji="0" lang="de-CH" sz="1400" b="1" i="0" u="none" strike="noStrike" kern="1200" cap="none" spc="0" normalizeH="0" baseline="0" noProof="0" dirty="0" err="1">
                  <a:ln>
                    <a:noFill/>
                  </a:ln>
                  <a:solidFill>
                    <a:schemeClr val="tx1"/>
                  </a:solidFill>
                  <a:effectLst/>
                  <a:uLnTx/>
                  <a:uFillTx/>
                  <a:latin typeface="Calibri" panose="020F0502020204030204"/>
                  <a:ea typeface="+mn-ea"/>
                </a:rPr>
                <a:t>elements</a:t>
              </a:r>
              <a:r>
                <a:rPr kumimoji="0" lang="de-CH" sz="1400" b="1" i="0" u="none" strike="noStrike" kern="1200" cap="none" spc="0" normalizeH="0" baseline="0" noProof="0" dirty="0">
                  <a:ln>
                    <a:noFill/>
                  </a:ln>
                  <a:solidFill>
                    <a:schemeClr val="tx1"/>
                  </a:solidFill>
                  <a:effectLst/>
                  <a:uLnTx/>
                  <a:uFillTx/>
                  <a:latin typeface="Calibri" panose="020F0502020204030204"/>
                  <a:ea typeface="+mn-ea"/>
                </a:rPr>
                <a:t> </a:t>
              </a:r>
              <a:r>
                <a:rPr lang="de-CH" sz="1400" kern="1200" dirty="0" err="1">
                  <a:solidFill>
                    <a:schemeClr val="tx1"/>
                  </a:solidFill>
                  <a:latin typeface="Calibri" panose="020F0502020204030204"/>
                  <a:ea typeface="+mn-ea"/>
                </a:rPr>
                <a:t>can</a:t>
              </a:r>
              <a:r>
                <a:rPr lang="de-CH" sz="1400" kern="1200" dirty="0">
                  <a:solidFill>
                    <a:schemeClr val="tx1"/>
                  </a:solidFill>
                  <a:latin typeface="Calibri" panose="020F0502020204030204"/>
                  <a:ea typeface="+mn-ea"/>
                </a:rPr>
                <a:t> </a:t>
              </a:r>
              <a:r>
                <a:rPr lang="de-CH" sz="1400" kern="1200" dirty="0" err="1">
                  <a:solidFill>
                    <a:schemeClr val="tx1"/>
                  </a:solidFill>
                  <a:latin typeface="Calibri" panose="020F0502020204030204"/>
                  <a:ea typeface="+mn-ea"/>
                </a:rPr>
                <a:t>be</a:t>
              </a:r>
              <a:r>
                <a:rPr lang="de-CH" sz="1400" kern="1200" dirty="0">
                  <a:solidFill>
                    <a:schemeClr val="tx1"/>
                  </a:solidFill>
                  <a:latin typeface="Calibri" panose="020F0502020204030204"/>
                  <a:ea typeface="+mn-ea"/>
                </a:rPr>
                <a:t> </a:t>
              </a:r>
              <a:r>
                <a:rPr lang="de-CH" sz="1400" kern="1200" dirty="0" err="1">
                  <a:solidFill>
                    <a:schemeClr val="tx1"/>
                  </a:solidFill>
                  <a:latin typeface="Calibri" panose="020F0502020204030204"/>
                  <a:ea typeface="+mn-ea"/>
                </a:rPr>
                <a:t>added</a:t>
              </a:r>
              <a:r>
                <a:rPr kumimoji="0" lang="de-CH" sz="1400" b="0" i="0" u="none" strike="noStrike" kern="1200" cap="none" spc="0" normalizeH="0" baseline="0" noProof="0" dirty="0">
                  <a:ln>
                    <a:noFill/>
                  </a:ln>
                  <a:solidFill>
                    <a:schemeClr val="tx1"/>
                  </a:solidFill>
                  <a:effectLst/>
                  <a:uLnTx/>
                  <a:uFillTx/>
                  <a:latin typeface="Calibri" panose="020F0502020204030204"/>
                  <a:ea typeface="+mn-ea"/>
                </a:rPr>
                <a:t> </a:t>
              </a:r>
              <a:r>
                <a:rPr kumimoji="0" lang="de-CH" sz="1400" b="0" i="0" u="none" strike="noStrike" kern="1200" cap="none" spc="0" normalizeH="0" baseline="0" noProof="0" dirty="0" err="1">
                  <a:ln>
                    <a:noFill/>
                  </a:ln>
                  <a:solidFill>
                    <a:schemeClr val="tx1"/>
                  </a:solidFill>
                  <a:effectLst/>
                  <a:uLnTx/>
                  <a:uFillTx/>
                  <a:latin typeface="Calibri" panose="020F0502020204030204"/>
                  <a:ea typeface="+mn-ea"/>
                </a:rPr>
                <a:t>as</a:t>
              </a:r>
              <a:r>
                <a:rPr kumimoji="0" lang="de-CH" sz="1400" b="0" i="0" u="none" strike="noStrike" kern="1200" cap="none" spc="0" normalizeH="0" baseline="0" noProof="0" dirty="0">
                  <a:ln>
                    <a:noFill/>
                  </a:ln>
                  <a:solidFill>
                    <a:schemeClr val="tx1"/>
                  </a:solidFill>
                  <a:effectLst/>
                  <a:uLnTx/>
                  <a:uFillTx/>
                  <a:latin typeface="Calibri" panose="020F0502020204030204"/>
                  <a:ea typeface="+mn-ea"/>
                </a:rPr>
                <a:t> p</a:t>
              </a:r>
              <a:r>
                <a:rPr kumimoji="0" lang="pl-PL" sz="1400" b="0" i="0" u="none" strike="noStrike" kern="1200" cap="none" spc="0" normalizeH="0" baseline="0" noProof="0" dirty="0">
                  <a:ln>
                    <a:noFill/>
                  </a:ln>
                  <a:solidFill>
                    <a:schemeClr val="tx1"/>
                  </a:solidFill>
                  <a:effectLst/>
                  <a:uLnTx/>
                  <a:uFillTx/>
                  <a:latin typeface="Calibri" panose="020F0502020204030204"/>
                  <a:ea typeface="+mn-ea"/>
                </a:rPr>
                <a:t>lain </a:t>
              </a:r>
              <a:r>
                <a:rPr kumimoji="0" lang="de-CH" sz="1400" b="0" i="0" u="none" strike="noStrike" kern="1200" cap="none" spc="0" normalizeH="0" baseline="0" noProof="0" dirty="0">
                  <a:ln>
                    <a:noFill/>
                  </a:ln>
                  <a:solidFill>
                    <a:schemeClr val="tx1"/>
                  </a:solidFill>
                  <a:effectLst/>
                  <a:uLnTx/>
                  <a:uFillTx/>
                  <a:latin typeface="Calibri" panose="020F0502020204030204"/>
                  <a:ea typeface="+mn-ea"/>
                </a:rPr>
                <a:t>t</a:t>
              </a:r>
              <a:r>
                <a:rPr kumimoji="0" lang="pl-PL" sz="1400" b="0" i="0" u="none" strike="noStrike" kern="1200" cap="none" spc="0" normalizeH="0" baseline="0" noProof="0" dirty="0">
                  <a:ln>
                    <a:noFill/>
                  </a:ln>
                  <a:solidFill>
                    <a:schemeClr val="tx1"/>
                  </a:solidFill>
                  <a:effectLst/>
                  <a:uLnTx/>
                  <a:uFillTx/>
                  <a:latin typeface="Calibri" panose="020F0502020204030204"/>
                  <a:ea typeface="+mn-ea"/>
                </a:rPr>
                <a:t>ext</a:t>
              </a:r>
              <a:r>
                <a:rPr kumimoji="0" lang="de-CH" sz="1400" b="0" i="0" u="none" strike="noStrike" kern="1200" cap="none" spc="0" normalizeH="0" baseline="0" noProof="0" dirty="0">
                  <a:ln>
                    <a:noFill/>
                  </a:ln>
                  <a:solidFill>
                    <a:schemeClr val="tx1"/>
                  </a:solidFill>
                  <a:effectLst/>
                  <a:uLnTx/>
                  <a:uFillTx/>
                  <a:latin typeface="Calibri" panose="020F0502020204030204"/>
                  <a:ea typeface="+mn-ea"/>
                </a:rPr>
                <a:t> (</a:t>
              </a:r>
              <a:r>
                <a:rPr lang="pl-PL" sz="1400" kern="1200" dirty="0">
                  <a:solidFill>
                    <a:schemeClr val="tx1"/>
                  </a:solidFill>
                  <a:latin typeface="Calibri" panose="020F0502020204030204"/>
                  <a:ea typeface="+mn-ea"/>
                </a:rPr>
                <a:t>hard-coded</a:t>
              </a:r>
              <a:r>
                <a:rPr lang="de-CH" sz="1400" kern="1200" dirty="0">
                  <a:solidFill>
                    <a:schemeClr val="tx1"/>
                  </a:solidFill>
                  <a:latin typeface="Calibri" panose="020F0502020204030204"/>
                  <a:ea typeface="+mn-ea"/>
                </a:rPr>
                <a:t>) </a:t>
              </a:r>
              <a:r>
                <a:rPr lang="de-CH" sz="1400" kern="1200" dirty="0" err="1">
                  <a:solidFill>
                    <a:schemeClr val="tx1"/>
                  </a:solidFill>
                  <a:latin typeface="Calibri" panose="020F0502020204030204"/>
                  <a:ea typeface="+mn-ea"/>
                </a:rPr>
                <a:t>or</a:t>
              </a:r>
              <a:r>
                <a:rPr lang="de-CH" sz="1400" kern="1200" dirty="0">
                  <a:solidFill>
                    <a:schemeClr val="tx1"/>
                  </a:solidFill>
                  <a:latin typeface="Calibri" panose="020F0502020204030204"/>
                  <a:ea typeface="+mn-ea"/>
                </a:rPr>
                <a:t> </a:t>
              </a:r>
              <a:r>
                <a:rPr lang="de-CH" sz="1400" kern="1200" dirty="0" err="1">
                  <a:solidFill>
                    <a:schemeClr val="tx1"/>
                  </a:solidFill>
                  <a:latin typeface="Calibri" panose="020F0502020204030204"/>
                  <a:ea typeface="+mn-ea"/>
                </a:rPr>
                <a:t>as</a:t>
              </a:r>
              <a:r>
                <a:rPr lang="de-CH" sz="1400" kern="1200" dirty="0">
                  <a:solidFill>
                    <a:schemeClr val="tx1"/>
                  </a:solidFill>
                  <a:latin typeface="Calibri" panose="020F0502020204030204"/>
                  <a:ea typeface="+mn-ea"/>
                </a:rPr>
                <a:t> </a:t>
              </a:r>
              <a:r>
                <a:rPr lang="de-CH" sz="1400" kern="1200" dirty="0" err="1">
                  <a:solidFill>
                    <a:schemeClr val="tx1"/>
                  </a:solidFill>
                  <a:latin typeface="Calibri" panose="020F0502020204030204"/>
                  <a:ea typeface="+mn-ea"/>
                </a:rPr>
                <a:t>translatable</a:t>
              </a:r>
              <a:r>
                <a:rPr lang="de-CH" sz="1400" kern="1200" dirty="0">
                  <a:solidFill>
                    <a:schemeClr val="tx1"/>
                  </a:solidFill>
                  <a:latin typeface="Calibri" panose="020F0502020204030204"/>
                  <a:ea typeface="+mn-ea"/>
                </a:rPr>
                <a:t> </a:t>
              </a:r>
              <a:r>
                <a:rPr lang="de-CH" sz="1400" kern="1200" dirty="0" err="1">
                  <a:solidFill>
                    <a:schemeClr val="tx1"/>
                  </a:solidFill>
                  <a:latin typeface="Calibri" panose="020F0502020204030204"/>
                  <a:ea typeface="+mn-ea"/>
                </a:rPr>
                <a:t>text</a:t>
              </a:r>
              <a:r>
                <a:rPr lang="de-CH" sz="1400" kern="1200" dirty="0">
                  <a:solidFill>
                    <a:schemeClr val="tx1"/>
                  </a:solidFill>
                  <a:latin typeface="Calibri" panose="020F0502020204030204"/>
                  <a:ea typeface="+mn-ea"/>
                </a:rPr>
                <a:t> (</a:t>
              </a:r>
              <a:r>
                <a:rPr lang="en-US" sz="1400" kern="1200" dirty="0">
                  <a:solidFill>
                    <a:schemeClr val="tx1"/>
                  </a:solidFill>
                  <a:latin typeface="Calibri" panose="020F0502020204030204"/>
                  <a:ea typeface="+mn-ea"/>
                </a:rPr>
                <a:t>from the</a:t>
              </a:r>
              <a:r>
                <a:rPr lang="en-US" sz="1400" b="1" kern="1200" dirty="0">
                  <a:solidFill>
                    <a:schemeClr val="tx1"/>
                  </a:solidFill>
                  <a:latin typeface="Calibri" panose="020F0502020204030204"/>
                  <a:ea typeface="+mn-ea"/>
                </a:rPr>
                <a:t> Languages</a:t>
              </a:r>
              <a:r>
                <a:rPr lang="en-US" sz="1400" kern="1200" dirty="0">
                  <a:solidFill>
                    <a:schemeClr val="tx1"/>
                  </a:solidFill>
                  <a:latin typeface="Calibri" panose="020F0502020204030204"/>
                  <a:ea typeface="+mn-ea"/>
                </a:rPr>
                <a:t> </a:t>
              </a:r>
              <a:r>
                <a:rPr lang="en-US" sz="1400" b="1" kern="1200" dirty="0">
                  <a:solidFill>
                    <a:schemeClr val="tx1"/>
                  </a:solidFill>
                  <a:latin typeface="Calibri" panose="020F0502020204030204"/>
                  <a:ea typeface="+mn-ea"/>
                </a:rPr>
                <a:t>text catalogue </a:t>
              </a:r>
              <a:r>
                <a:rPr lang="en-US" sz="1400" kern="1200" dirty="0">
                  <a:solidFill>
                    <a:schemeClr val="tx1"/>
                  </a:solidFill>
                  <a:latin typeface="Calibri" panose="020F0502020204030204"/>
                  <a:ea typeface="+mn-ea"/>
                </a:rPr>
                <a:t>using the key </a:t>
              </a:r>
              <a:r>
                <a:rPr lang="de-CH" sz="1400" kern="1200" dirty="0">
                  <a:solidFill>
                    <a:schemeClr val="tx1"/>
                  </a:solidFill>
                  <a:latin typeface="Calibri" panose="020F0502020204030204"/>
                  <a:ea typeface="+mn-ea"/>
                </a:rPr>
                <a:t>(&lt;%</a:t>
              </a:r>
              <a:r>
                <a:rPr lang="de-CH" sz="1400" kern="1200" dirty="0" err="1">
                  <a:solidFill>
                    <a:schemeClr val="tx1"/>
                  </a:solidFill>
                  <a:latin typeface="Calibri" panose="020F0502020204030204"/>
                  <a:ea typeface="+mn-ea"/>
                </a:rPr>
                <a:t>xxxx</a:t>
              </a:r>
              <a:r>
                <a:rPr lang="de-CH" sz="1400" kern="1200" dirty="0">
                  <a:solidFill>
                    <a:schemeClr val="tx1"/>
                  </a:solidFill>
                  <a:latin typeface="Calibri" panose="020F0502020204030204"/>
                  <a:ea typeface="+mn-ea"/>
                </a:rPr>
                <a:t>%&gt;)</a:t>
              </a:r>
            </a:p>
          </p:txBody>
        </p:sp>
        <p:sp>
          <p:nvSpPr>
            <p:cNvPr id="65" name="Geschweifte Klammer rechts 64">
              <a:extLst>
                <a:ext uri="{FF2B5EF4-FFF2-40B4-BE49-F238E27FC236}">
                  <a16:creationId xmlns:a16="http://schemas.microsoft.com/office/drawing/2014/main" id="{FD14A94E-EC4A-416D-8B4F-E456FD632BAC}"/>
                </a:ext>
              </a:extLst>
            </p:cNvPr>
            <p:cNvSpPr/>
            <p:nvPr/>
          </p:nvSpPr>
          <p:spPr bwMode="auto">
            <a:xfrm>
              <a:off x="7570367" y="1898495"/>
              <a:ext cx="236142" cy="193752"/>
            </a:xfrm>
            <a:prstGeom prst="rightBrace">
              <a:avLst>
                <a:gd name="adj1" fmla="val 30242"/>
                <a:gd name="adj2" fmla="val 50000"/>
              </a:avLst>
            </a:prstGeom>
            <a:noFill/>
            <a:ln w="38100" cap="flat" cmpd="sng" algn="ctr">
              <a:solidFill>
                <a:schemeClr val="tx1">
                  <a:lumMod val="85000"/>
                  <a:lumOff val="1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highlight>
                  <a:srgbClr val="CED8E0"/>
                </a:highlight>
                <a:latin typeface="Arial" charset="0"/>
                <a:ea typeface="ヒラギノ角ゴ Pro W3" charset="0"/>
              </a:endParaRPr>
            </a:p>
          </p:txBody>
        </p:sp>
      </p:grpSp>
      <p:sp>
        <p:nvSpPr>
          <p:cNvPr id="78" name="Strzałka: pięciokąt 13">
            <a:extLst>
              <a:ext uri="{FF2B5EF4-FFF2-40B4-BE49-F238E27FC236}">
                <a16:creationId xmlns:a16="http://schemas.microsoft.com/office/drawing/2014/main" id="{323C1699-0732-4F4A-BBBE-BB59799335C1}"/>
              </a:ext>
            </a:extLst>
          </p:cNvPr>
          <p:cNvSpPr/>
          <p:nvPr/>
        </p:nvSpPr>
        <p:spPr>
          <a:xfrm flipH="1">
            <a:off x="9055381" y="3248418"/>
            <a:ext cx="1497705" cy="1578126"/>
          </a:xfrm>
          <a:prstGeom prst="homePlate">
            <a:avLst>
              <a:gd name="adj" fmla="val 0"/>
            </a:avLst>
          </a:prstGeom>
          <a:solidFill>
            <a:srgbClr val="7030A0"/>
          </a:solidFill>
          <a:ln w="12700" cap="flat" cmpd="sng" algn="ctr">
            <a:noFill/>
            <a:prstDash val="solid"/>
            <a:miter lim="800000"/>
          </a:ln>
          <a:effectLst/>
        </p:spPr>
        <p:txBody>
          <a:bodyPr lIns="0" tIns="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1600" b="0" i="1" u="none" strike="noStrike" kern="1200" cap="none" spc="0" normalizeH="0" baseline="0" noProof="0" dirty="0">
                <a:ln>
                  <a:noFill/>
                </a:ln>
                <a:solidFill>
                  <a:prstClr val="white"/>
                </a:solidFill>
                <a:effectLst/>
                <a:uLnTx/>
                <a:uFillTx/>
                <a:latin typeface="Calibri" panose="020F0502020204030204"/>
                <a:ea typeface="+mn-ea"/>
                <a:cs typeface="+mn-cs"/>
              </a:rPr>
              <a:t>Drug and </a:t>
            </a:r>
            <a:r>
              <a:rPr kumimoji="0" lang="de-CH" sz="1600" b="0" i="1" u="none" strike="noStrike" kern="1200" cap="none" spc="0" normalizeH="0" baseline="0" noProof="0" dirty="0" err="1">
                <a:ln>
                  <a:noFill/>
                </a:ln>
                <a:solidFill>
                  <a:prstClr val="white"/>
                </a:solidFill>
                <a:effectLst/>
                <a:uLnTx/>
                <a:uFillTx/>
                <a:latin typeface="Calibri" panose="020F0502020204030204"/>
                <a:ea typeface="+mn-ea"/>
                <a:cs typeface="+mn-cs"/>
              </a:rPr>
              <a:t>drop</a:t>
            </a:r>
            <a:r>
              <a:rPr kumimoji="0" lang="de-CH" sz="1600" b="0" i="1" u="none" strike="noStrike" kern="1200" cap="none" spc="0" normalizeH="0" baseline="0" noProof="0" dirty="0">
                <a:ln>
                  <a:noFill/>
                </a:ln>
                <a:solidFill>
                  <a:prstClr val="white"/>
                </a:solidFill>
                <a:effectLst/>
                <a:uLnTx/>
                <a:uFillTx/>
                <a:latin typeface="Calibri" panose="020F0502020204030204"/>
                <a:ea typeface="+mn-ea"/>
                <a:cs typeface="+mn-cs"/>
              </a:rPr>
              <a:t> </a:t>
            </a:r>
            <a:br>
              <a:rPr kumimoji="0" lang="de-CH" sz="1600" b="0" i="1"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de-CH" sz="1600" b="0" i="1" u="none" strike="noStrike" kern="1200" cap="none" spc="0" normalizeH="0" baseline="0" noProof="0" dirty="0" err="1">
                <a:ln>
                  <a:noFill/>
                </a:ln>
                <a:solidFill>
                  <a:prstClr val="white"/>
                </a:solidFill>
                <a:effectLst/>
                <a:uLnTx/>
                <a:uFillTx/>
                <a:latin typeface="Calibri" panose="020F0502020204030204"/>
                <a:ea typeface="+mn-ea"/>
                <a:cs typeface="+mn-cs"/>
              </a:rPr>
              <a:t>the</a:t>
            </a:r>
            <a:r>
              <a:rPr kumimoji="0" lang="de-CH" sz="1600" b="0" i="1" u="none" strike="noStrike" kern="1200" cap="none" spc="0" normalizeH="0" noProof="0" dirty="0">
                <a:ln>
                  <a:noFill/>
                </a:ln>
                <a:solidFill>
                  <a:prstClr val="white"/>
                </a:solidFill>
                <a:effectLst/>
                <a:uLnTx/>
                <a:uFillTx/>
                <a:latin typeface="Calibri" panose="020F0502020204030204"/>
                <a:ea typeface="+mn-ea"/>
                <a:cs typeface="+mn-cs"/>
              </a:rPr>
              <a:t> </a:t>
            </a:r>
            <a:r>
              <a:rPr kumimoji="0" lang="pl-PL" sz="1600" b="0" i="1" u="none" strike="noStrike" kern="1200" cap="none" spc="0" normalizeH="0" baseline="0" noProof="0" dirty="0">
                <a:ln>
                  <a:noFill/>
                </a:ln>
                <a:solidFill>
                  <a:prstClr val="white"/>
                </a:solidFill>
                <a:effectLst/>
                <a:uLnTx/>
                <a:uFillTx/>
                <a:latin typeface="Calibri" panose="020F0502020204030204"/>
                <a:ea typeface="+mn-ea"/>
                <a:cs typeface="+mn-cs"/>
              </a:rPr>
              <a:t>object </a:t>
            </a:r>
            <a:r>
              <a:rPr kumimoji="0" lang="de-CH" sz="1600" b="0" i="1" u="none" strike="noStrike" kern="1200" cap="none" spc="0" normalizeH="0" baseline="0" noProof="0" dirty="0">
                <a:ln>
                  <a:noFill/>
                </a:ln>
                <a:solidFill>
                  <a:prstClr val="white"/>
                </a:solidFill>
                <a:effectLst/>
                <a:uLnTx/>
                <a:uFillTx/>
                <a:latin typeface="Calibri" panose="020F0502020204030204"/>
                <a:ea typeface="+mn-ea"/>
                <a:cs typeface="+mn-cs"/>
              </a:rPr>
              <a:t>member</a:t>
            </a:r>
            <a:r>
              <a:rPr lang="de-CH" sz="1600" i="1" kern="1200" noProof="0" dirty="0">
                <a:solidFill>
                  <a:prstClr val="white"/>
                </a:solidFill>
                <a:latin typeface="Calibri" panose="020F0502020204030204"/>
                <a:ea typeface="+mn-ea"/>
              </a:rPr>
              <a:t> and </a:t>
            </a:r>
            <a:r>
              <a:rPr lang="de-CH" sz="1600" i="1" kern="1200" noProof="0" dirty="0" err="1">
                <a:solidFill>
                  <a:prstClr val="white"/>
                </a:solidFill>
                <a:latin typeface="Calibri" panose="020F0502020204030204"/>
                <a:ea typeface="+mn-ea"/>
              </a:rPr>
              <a:t>translate</a:t>
            </a:r>
            <a:r>
              <a:rPr lang="de-CH" sz="1600" i="1" kern="1200" noProof="0" dirty="0">
                <a:solidFill>
                  <a:prstClr val="white"/>
                </a:solidFill>
                <a:latin typeface="Calibri" panose="020F0502020204030204"/>
                <a:ea typeface="+mn-ea"/>
              </a:rPr>
              <a:t> </a:t>
            </a:r>
            <a:r>
              <a:rPr lang="de-CH" sz="1600" i="1" kern="1200" noProof="0" dirty="0" err="1">
                <a:solidFill>
                  <a:prstClr val="white"/>
                </a:solidFill>
                <a:latin typeface="Calibri" panose="020F0502020204030204"/>
                <a:ea typeface="+mn-ea"/>
              </a:rPr>
              <a:t>them</a:t>
            </a:r>
            <a:r>
              <a:rPr lang="de-CH" sz="1600" i="1" kern="1200" noProof="0" dirty="0">
                <a:solidFill>
                  <a:prstClr val="white"/>
                </a:solidFill>
                <a:latin typeface="Calibri" panose="020F0502020204030204"/>
                <a:ea typeface="+mn-ea"/>
              </a:rPr>
              <a:t> </a:t>
            </a:r>
            <a:r>
              <a:rPr lang="de-CH" sz="1600" i="1" kern="1200" dirty="0">
                <a:solidFill>
                  <a:prstClr val="white"/>
                </a:solidFill>
                <a:latin typeface="Calibri" panose="020F0502020204030204"/>
                <a:ea typeface="+mn-ea"/>
              </a:rPr>
              <a:t>(</a:t>
            </a:r>
            <a:r>
              <a:rPr lang="de-CH" sz="1600" i="1" kern="1200" noProof="0" dirty="0" err="1">
                <a:solidFill>
                  <a:prstClr val="white"/>
                </a:solidFill>
                <a:latin typeface="Calibri" panose="020F0502020204030204"/>
                <a:ea typeface="+mn-ea"/>
              </a:rPr>
              <a:t>mapping</a:t>
            </a:r>
            <a:r>
              <a:rPr lang="de-CH" sz="1600" i="1" kern="1200" noProof="0" dirty="0">
                <a:solidFill>
                  <a:prstClr val="white"/>
                </a:solidFill>
                <a:latin typeface="Calibri" panose="020F0502020204030204"/>
                <a:ea typeface="+mn-ea"/>
              </a:rPr>
              <a:t> support)</a:t>
            </a:r>
            <a:endParaRPr kumimoji="0" lang="pl-PL" sz="16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Textfeld 337">
            <a:extLst>
              <a:ext uri="{FF2B5EF4-FFF2-40B4-BE49-F238E27FC236}">
                <a16:creationId xmlns:a16="http://schemas.microsoft.com/office/drawing/2014/main" id="{48EEB318-7363-4E05-810C-50671D9C2221}"/>
              </a:ext>
            </a:extLst>
          </p:cNvPr>
          <p:cNvSpPr txBox="1"/>
          <p:nvPr/>
        </p:nvSpPr>
        <p:spPr>
          <a:xfrm>
            <a:off x="-1" y="5146174"/>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sz="1100" b="0" kern="1200" dirty="0">
                <a:latin typeface="+mj-lt"/>
                <a:ea typeface="+mn-ea"/>
              </a:rPr>
              <a:t>Watch page elements</a:t>
            </a:r>
            <a:endParaRPr lang="en-US" sz="1100" b="0" u="none" strike="noStrike" kern="1200" dirty="0">
              <a:effectLst/>
              <a:latin typeface="+mj-lt"/>
              <a:ea typeface="+mn-ea"/>
            </a:endParaRPr>
          </a:p>
        </p:txBody>
      </p:sp>
    </p:spTree>
    <p:extLst>
      <p:ext uri="{BB962C8B-B14F-4D97-AF65-F5344CB8AC3E}">
        <p14:creationId xmlns:p14="http://schemas.microsoft.com/office/powerpoint/2010/main" val="2044154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wipe(down)">
                                      <p:cBhvr>
                                        <p:cTn id="12" dur="1100"/>
                                        <p:tgtEl>
                                          <p:spTgt spid="77"/>
                                        </p:tgtEl>
                                      </p:cBhvr>
                                    </p:animEffect>
                                  </p:childTnLst>
                                </p:cTn>
                              </p:par>
                              <p:par>
                                <p:cTn id="13" presetID="10" presetClass="entr" presetSubtype="0" fill="hold" grpId="0" nodeType="withEffect">
                                  <p:stCondLst>
                                    <p:cond delay="60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79"/>
                                        </p:tgtEl>
                                        <p:attrNameLst>
                                          <p:attrName>style.visibility</p:attrName>
                                        </p:attrNameLst>
                                      </p:cBhvr>
                                      <p:to>
                                        <p:strVal val="visible"/>
                                      </p:to>
                                    </p:set>
                                    <p:animEffect transition="in" filter="fade">
                                      <p:cBhvr>
                                        <p:cTn id="20" dur="500"/>
                                        <p:tgtEl>
                                          <p:spTgt spid="7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2"/>
                                        </p:tgtEl>
                                        <p:attrNameLst>
                                          <p:attrName>style.visibility</p:attrName>
                                        </p:attrNameLst>
                                      </p:cBhvr>
                                      <p:to>
                                        <p:strVal val="visible"/>
                                      </p:to>
                                    </p:set>
                                    <p:animEffect transition="in" filter="fade">
                                      <p:cBhvr>
                                        <p:cTn id="23" dur="500"/>
                                        <p:tgtEl>
                                          <p:spTgt spid="7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80"/>
                                        </p:tgtEl>
                                        <p:attrNameLst>
                                          <p:attrName>style.visibility</p:attrName>
                                        </p:attrNameLst>
                                      </p:cBhvr>
                                      <p:to>
                                        <p:strVal val="visible"/>
                                      </p:to>
                                    </p:set>
                                    <p:animEffect transition="in" filter="fade">
                                      <p:cBhvr>
                                        <p:cTn id="28" dur="500"/>
                                        <p:tgtEl>
                                          <p:spTgt spid="8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3"/>
                                        </p:tgtEl>
                                        <p:attrNameLst>
                                          <p:attrName>style.visibility</p:attrName>
                                        </p:attrNameLst>
                                      </p:cBhvr>
                                      <p:to>
                                        <p:strVal val="visible"/>
                                      </p:to>
                                    </p:set>
                                    <p:animEffect transition="in" filter="fade">
                                      <p:cBhvr>
                                        <p:cTn id="31" dur="500"/>
                                        <p:tgtEl>
                                          <p:spTgt spid="73"/>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fade">
                                      <p:cBhvr>
                                        <p:cTn id="3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3" grpId="0" animBg="1"/>
      <p:bldP spid="77" grpId="0" animBg="1"/>
      <p:bldP spid="8" grpId="0" animBg="1"/>
      <p:bldP spid="7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noProof="0"/>
          </a:p>
        </p:txBody>
      </p:sp>
      <p:sp>
        <p:nvSpPr>
          <p:cNvPr id="5" name="Rechteck 13">
            <a:extLst>
              <a:ext uri="{FF2B5EF4-FFF2-40B4-BE49-F238E27FC236}">
                <a16:creationId xmlns:a16="http://schemas.microsoft.com/office/drawing/2014/main" id="{103D8173-6F1F-4509-BBE1-E395DBD8F138}"/>
              </a:ext>
            </a:extLst>
          </p:cNvPr>
          <p:cNvSpPr>
            <a:spLocks noChangeArrowheads="1"/>
          </p:cNvSpPr>
          <p:nvPr/>
        </p:nvSpPr>
        <p:spPr bwMode="auto">
          <a:xfrm>
            <a:off x="1220768" y="1559091"/>
            <a:ext cx="4572000"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en-US" altLang="de-DE"/>
          </a:p>
          <a:p>
            <a:pPr eaLnBrk="1" hangingPunct="1"/>
            <a:endParaRPr lang="en-US" altLang="de-DE"/>
          </a:p>
          <a:p>
            <a:pPr eaLnBrk="1" hangingPunct="1"/>
            <a:endParaRPr lang="en-US" altLang="de-DE"/>
          </a:p>
          <a:p>
            <a:pPr eaLnBrk="1" hangingPunct="1"/>
            <a:endParaRPr lang="en-US" altLang="de-DE"/>
          </a:p>
        </p:txBody>
      </p:sp>
      <p:sp>
        <p:nvSpPr>
          <p:cNvPr id="43" name="cdtText Box 4 Id114692">
            <a:extLst>
              <a:ext uri="{FF2B5EF4-FFF2-40B4-BE49-F238E27FC236}">
                <a16:creationId xmlns:a16="http://schemas.microsoft.com/office/drawing/2014/main" id="{C6E54D6C-C479-46C9-BD1C-06EFA0E2F6CB}"/>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Generating downloadable files</a:t>
            </a:r>
          </a:p>
        </p:txBody>
      </p:sp>
      <p:pic>
        <p:nvPicPr>
          <p:cNvPr id="54" name="Picture 1">
            <a:extLst>
              <a:ext uri="{FF2B5EF4-FFF2-40B4-BE49-F238E27FC236}">
                <a16:creationId xmlns:a16="http://schemas.microsoft.com/office/drawing/2014/main" id="{02617846-5467-4B63-B536-D3938AC20A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84213" y="9544528"/>
            <a:ext cx="2550403" cy="1301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3" name="Straight Arrow Connector 3">
            <a:extLst>
              <a:ext uri="{FF2B5EF4-FFF2-40B4-BE49-F238E27FC236}">
                <a16:creationId xmlns:a16="http://schemas.microsoft.com/office/drawing/2014/main" id="{D1A3B89B-ED54-455E-A1C5-43CBF06B730D}"/>
              </a:ext>
            </a:extLst>
          </p:cNvPr>
          <p:cNvCxnSpPr>
            <a:cxnSpLocks/>
          </p:cNvCxnSpPr>
          <p:nvPr/>
        </p:nvCxnSpPr>
        <p:spPr bwMode="auto">
          <a:xfrm>
            <a:off x="8852298" y="9354655"/>
            <a:ext cx="157944" cy="431884"/>
          </a:xfrm>
          <a:prstGeom prst="straightConnector1">
            <a:avLst/>
          </a:prstGeom>
          <a:ln w="76200">
            <a:solidFill>
              <a:srgbClr val="B05A08"/>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9" name="Rechteck 22">
            <a:extLst>
              <a:ext uri="{FF2B5EF4-FFF2-40B4-BE49-F238E27FC236}">
                <a16:creationId xmlns:a16="http://schemas.microsoft.com/office/drawing/2014/main" id="{D8A93A2A-852E-4BE0-A14C-0424F2CECA03}"/>
              </a:ext>
            </a:extLst>
          </p:cNvPr>
          <p:cNvSpPr>
            <a:spLocks noChangeArrowheads="1"/>
          </p:cNvSpPr>
          <p:nvPr/>
        </p:nvSpPr>
        <p:spPr bwMode="auto">
          <a:xfrm>
            <a:off x="2319847" y="2696330"/>
            <a:ext cx="2437512" cy="3421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solidFill>
                  <a:schemeClr val="accent6">
                    <a:lumMod val="50000"/>
                  </a:schemeClr>
                </a:solidFill>
              </a:rPr>
              <a:t>Mapping support</a:t>
            </a:r>
            <a:endParaRPr lang="de-DE" altLang="en-US" sz="1600" dirty="0">
              <a:solidFill>
                <a:schemeClr val="accent6">
                  <a:lumMod val="50000"/>
                </a:schemeClr>
              </a:solidFill>
            </a:endParaRPr>
          </a:p>
        </p:txBody>
      </p:sp>
      <p:pic>
        <p:nvPicPr>
          <p:cNvPr id="1026" name="Picture 2">
            <a:extLst>
              <a:ext uri="{FF2B5EF4-FFF2-40B4-BE49-F238E27FC236}">
                <a16:creationId xmlns:a16="http://schemas.microsoft.com/office/drawing/2014/main" id="{332EE6AF-26AF-4349-BC3A-0BB741A8DC8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1" r="14035"/>
          <a:stretch/>
        </p:blipFill>
        <p:spPr bwMode="auto">
          <a:xfrm>
            <a:off x="2175364" y="469084"/>
            <a:ext cx="9970137" cy="6211554"/>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abgerundete Ecken 2">
            <a:extLst>
              <a:ext uri="{FF2B5EF4-FFF2-40B4-BE49-F238E27FC236}">
                <a16:creationId xmlns:a16="http://schemas.microsoft.com/office/drawing/2014/main" id="{1F4419A3-F05F-4041-9835-78A3D4A5AF02}"/>
              </a:ext>
            </a:extLst>
          </p:cNvPr>
          <p:cNvSpPr/>
          <p:nvPr/>
        </p:nvSpPr>
        <p:spPr bwMode="auto">
          <a:xfrm>
            <a:off x="4947109" y="4211320"/>
            <a:ext cx="727251" cy="266333"/>
          </a:xfrm>
          <a:prstGeom prst="roundRect">
            <a:avLst/>
          </a:prstGeom>
          <a:noFill/>
          <a:ln w="57150">
            <a:solidFill>
              <a:srgbClr val="0070C0"/>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grpSp>
        <p:nvGrpSpPr>
          <p:cNvPr id="9" name="Gruppieren 8">
            <a:extLst>
              <a:ext uri="{FF2B5EF4-FFF2-40B4-BE49-F238E27FC236}">
                <a16:creationId xmlns:a16="http://schemas.microsoft.com/office/drawing/2014/main" id="{3C29FA3C-33F5-41C6-96D1-6E37A08614D5}"/>
              </a:ext>
            </a:extLst>
          </p:cNvPr>
          <p:cNvGrpSpPr/>
          <p:nvPr/>
        </p:nvGrpSpPr>
        <p:grpSpPr>
          <a:xfrm>
            <a:off x="2289616" y="3429000"/>
            <a:ext cx="2627262" cy="1048749"/>
            <a:chOff x="2198278" y="3941192"/>
            <a:chExt cx="2748831" cy="1048749"/>
          </a:xfrm>
        </p:grpSpPr>
        <p:grpSp>
          <p:nvGrpSpPr>
            <p:cNvPr id="51" name="Gruppieren 50">
              <a:extLst>
                <a:ext uri="{FF2B5EF4-FFF2-40B4-BE49-F238E27FC236}">
                  <a16:creationId xmlns:a16="http://schemas.microsoft.com/office/drawing/2014/main" id="{46EC04EC-DE70-4EC7-B951-D5A52D852795}"/>
                </a:ext>
              </a:extLst>
            </p:cNvPr>
            <p:cNvGrpSpPr/>
            <p:nvPr/>
          </p:nvGrpSpPr>
          <p:grpSpPr>
            <a:xfrm>
              <a:off x="2198278" y="3941192"/>
              <a:ext cx="2748831" cy="1048749"/>
              <a:chOff x="3692498" y="7060008"/>
              <a:chExt cx="2748831" cy="1048749"/>
            </a:xfrm>
          </p:grpSpPr>
          <p:sp>
            <p:nvSpPr>
              <p:cNvPr id="52" name="Rechteck 51">
                <a:extLst>
                  <a:ext uri="{FF2B5EF4-FFF2-40B4-BE49-F238E27FC236}">
                    <a16:creationId xmlns:a16="http://schemas.microsoft.com/office/drawing/2014/main" id="{41003BC1-A629-4712-A827-5C6078FACAD9}"/>
                  </a:ext>
                </a:extLst>
              </p:cNvPr>
              <p:cNvSpPr/>
              <p:nvPr/>
            </p:nvSpPr>
            <p:spPr bwMode="auto">
              <a:xfrm>
                <a:off x="3692498" y="7060008"/>
                <a:ext cx="2748831" cy="1048749"/>
              </a:xfrm>
              <a:prstGeom prst="rect">
                <a:avLst/>
              </a:prstGeom>
              <a:solidFill>
                <a:schemeClr val="bg1"/>
              </a:solidFill>
              <a:ln w="57150">
                <a:solidFill>
                  <a:srgbClr val="0070C0"/>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53" name="Rechteck 22">
                <a:extLst>
                  <a:ext uri="{FF2B5EF4-FFF2-40B4-BE49-F238E27FC236}">
                    <a16:creationId xmlns:a16="http://schemas.microsoft.com/office/drawing/2014/main" id="{9CDDE60F-D545-4E4F-B845-5A969BDEB633}"/>
                  </a:ext>
                </a:extLst>
              </p:cNvPr>
              <p:cNvSpPr>
                <a:spLocks noChangeArrowheads="1"/>
              </p:cNvSpPr>
              <p:nvPr/>
            </p:nvSpPr>
            <p:spPr bwMode="auto">
              <a:xfrm>
                <a:off x="3752321" y="7106134"/>
                <a:ext cx="2351644" cy="310919"/>
              </a:xfrm>
              <a:prstGeom prst="rect">
                <a:avLst/>
              </a:prstGeom>
              <a:solidFill>
                <a:schemeClr val="accent3">
                  <a:lumMod val="20000"/>
                  <a:lumOff val="80000"/>
                </a:schemeClr>
              </a:solidFill>
              <a:ln>
                <a:noFill/>
              </a:ln>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400" dirty="0" err="1"/>
                  <a:t>Languages</a:t>
                </a:r>
                <a:r>
                  <a:rPr lang="de-CH" altLang="en-US" sz="1400" dirty="0"/>
                  <a:t> </a:t>
                </a:r>
                <a:r>
                  <a:rPr lang="de-CH" altLang="en-US" sz="1400" dirty="0" err="1"/>
                  <a:t>supported</a:t>
                </a:r>
                <a:r>
                  <a:rPr lang="de-CH" altLang="en-US" sz="1400" dirty="0"/>
                  <a:t> </a:t>
                </a:r>
                <a:r>
                  <a:rPr lang="de-CH" altLang="en-US" sz="1400" dirty="0" err="1"/>
                  <a:t>text</a:t>
                </a:r>
                <a:endParaRPr lang="de-DE" altLang="en-US" sz="1400" dirty="0"/>
              </a:p>
            </p:txBody>
          </p:sp>
          <p:sp>
            <p:nvSpPr>
              <p:cNvPr id="55" name="Rechteck 22">
                <a:extLst>
                  <a:ext uri="{FF2B5EF4-FFF2-40B4-BE49-F238E27FC236}">
                    <a16:creationId xmlns:a16="http://schemas.microsoft.com/office/drawing/2014/main" id="{EAF8F45D-86BA-4841-916B-A8D8D7722C9A}"/>
                  </a:ext>
                </a:extLst>
              </p:cNvPr>
              <p:cNvSpPr>
                <a:spLocks noChangeArrowheads="1"/>
              </p:cNvSpPr>
              <p:nvPr/>
            </p:nvSpPr>
            <p:spPr bwMode="auto">
              <a:xfrm>
                <a:off x="3745943" y="7452209"/>
                <a:ext cx="2653454" cy="310919"/>
              </a:xfrm>
              <a:prstGeom prst="rect">
                <a:avLst/>
              </a:prstGeom>
              <a:solidFill>
                <a:schemeClr val="accent5">
                  <a:lumMod val="20000"/>
                  <a:lumOff val="80000"/>
                </a:schemeClr>
              </a:solidFill>
              <a:ln>
                <a:noFill/>
              </a:ln>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400" dirty="0"/>
                  <a:t>Mapping support (</a:t>
                </a:r>
                <a:r>
                  <a:rPr lang="de-CH" altLang="en-US" sz="1400" dirty="0" err="1"/>
                  <a:t>Object</a:t>
                </a:r>
                <a:r>
                  <a:rPr lang="de-CH" altLang="en-US" sz="1400" dirty="0"/>
                  <a:t> </a:t>
                </a:r>
                <a:r>
                  <a:rPr lang="de-CH" altLang="en-US" sz="1400" dirty="0" err="1"/>
                  <a:t>text</a:t>
                </a:r>
                <a:r>
                  <a:rPr lang="de-CH" altLang="en-US" sz="1400" dirty="0"/>
                  <a:t>)</a:t>
                </a:r>
                <a:endParaRPr lang="de-DE" altLang="en-US" sz="1400" dirty="0"/>
              </a:p>
            </p:txBody>
          </p:sp>
        </p:grpSp>
        <p:sp>
          <p:nvSpPr>
            <p:cNvPr id="50" name="TextBox 41">
              <a:extLst>
                <a:ext uri="{FF2B5EF4-FFF2-40B4-BE49-F238E27FC236}">
                  <a16:creationId xmlns:a16="http://schemas.microsoft.com/office/drawing/2014/main" id="{82EA6314-6583-446B-83B8-5B6C0F6EFC83}"/>
                </a:ext>
              </a:extLst>
            </p:cNvPr>
            <p:cNvSpPr txBox="1"/>
            <p:nvPr/>
          </p:nvSpPr>
          <p:spPr>
            <a:xfrm>
              <a:off x="2309071" y="4678381"/>
              <a:ext cx="2506069" cy="232412"/>
            </a:xfrm>
            <a:prstGeom prst="rect">
              <a:avLst/>
            </a:prstGeom>
            <a:noFill/>
          </p:spPr>
          <p:txBody>
            <a:bodyPr wrap="none" lIns="0" tIns="0" rIns="0" bIns="0" rtlCol="0">
              <a:noAutofit/>
            </a:bodyPr>
            <a:lstStyle/>
            <a:p>
              <a:pPr algn="l">
                <a:lnSpc>
                  <a:spcPct val="110000"/>
                </a:lnSpc>
                <a:spcBef>
                  <a:spcPts val="0"/>
                </a:spcBef>
              </a:pPr>
              <a:r>
                <a:rPr lang="de-CH" sz="1400" dirty="0">
                  <a:solidFill>
                    <a:schemeClr val="tx1"/>
                  </a:solidFill>
                  <a:latin typeface="+mn-lt"/>
                  <a:ea typeface="Arial Unicode MS" panose="020B0604020202020204" pitchFamily="34" charset="-128"/>
                  <a:cs typeface="Arial Unicode MS" panose="020B0604020202020204" pitchFamily="34" charset="-128"/>
                </a:rPr>
                <a:t>*Communication (IC </a:t>
              </a:r>
              <a:r>
                <a:rPr lang="de-CH" sz="1400" dirty="0" err="1">
                  <a:solidFill>
                    <a:schemeClr val="tx1"/>
                  </a:solidFill>
                  <a:latin typeface="+mn-lt"/>
                  <a:ea typeface="Arial Unicode MS" panose="020B0604020202020204" pitchFamily="34" charset="-128"/>
                  <a:cs typeface="Arial Unicode MS" panose="020B0604020202020204" pitchFamily="34" charset="-128"/>
                </a:rPr>
                <a:t>cloud</a:t>
              </a:r>
              <a:r>
                <a:rPr lang="de-CH" sz="1400" dirty="0">
                  <a:solidFill>
                    <a:schemeClr val="tx1"/>
                  </a:solidFill>
                  <a:latin typeface="+mn-lt"/>
                  <a:ea typeface="Arial Unicode MS" panose="020B0604020202020204" pitchFamily="34" charset="-128"/>
                  <a:cs typeface="Arial Unicode MS" panose="020B0604020202020204" pitchFamily="34" charset="-128"/>
                </a:rPr>
                <a:t>)</a:t>
              </a:r>
            </a:p>
          </p:txBody>
        </p:sp>
      </p:grpSp>
      <p:sp>
        <p:nvSpPr>
          <p:cNvPr id="57" name="TextBox 31">
            <a:extLst>
              <a:ext uri="{FF2B5EF4-FFF2-40B4-BE49-F238E27FC236}">
                <a16:creationId xmlns:a16="http://schemas.microsoft.com/office/drawing/2014/main" id="{0831E0C2-F9ED-485E-9FA1-B1E00713ACC6}"/>
              </a:ext>
            </a:extLst>
          </p:cNvPr>
          <p:cNvSpPr txBox="1"/>
          <p:nvPr/>
        </p:nvSpPr>
        <p:spPr>
          <a:xfrm>
            <a:off x="2159999" y="6482670"/>
            <a:ext cx="10017716" cy="266332"/>
          </a:xfrm>
          <a:prstGeom prst="rect">
            <a:avLst/>
          </a:prstGeom>
          <a:solidFill>
            <a:schemeClr val="bg1"/>
          </a:solidFill>
        </p:spPr>
        <p:txBody>
          <a:bodyPr wrap="none" lIns="0" tIns="0" rIns="0" bIns="0" rtlCol="0">
            <a:noAutofit/>
          </a:bodyPr>
          <a:lstStyle/>
          <a:p>
            <a:pPr algn="l">
              <a:lnSpc>
                <a:spcPct val="110000"/>
              </a:lnSpc>
              <a:spcBef>
                <a:spcPts val="0"/>
              </a:spcBef>
            </a:pPr>
            <a:r>
              <a:rPr lang="de-CH" sz="1400" dirty="0">
                <a:solidFill>
                  <a:schemeClr val="tx1"/>
                </a:solidFill>
                <a:latin typeface="+mn-lt"/>
                <a:ea typeface="Arial Unicode MS" panose="020B0604020202020204" pitchFamily="34" charset="-128"/>
                <a:cs typeface="Arial Unicode MS" panose="020B0604020202020204" pitchFamily="34" charset="-128"/>
              </a:rPr>
              <a:t>    * Further </a:t>
            </a:r>
            <a:r>
              <a:rPr lang="de-CH" sz="1400" dirty="0" err="1">
                <a:solidFill>
                  <a:schemeClr val="tx1"/>
                </a:solidFill>
                <a:latin typeface="+mn-lt"/>
                <a:ea typeface="Arial Unicode MS" panose="020B0604020202020204" pitchFamily="34" charset="-128"/>
                <a:cs typeface="Arial Unicode MS" panose="020B0604020202020204" pitchFamily="34" charset="-128"/>
              </a:rPr>
              <a:t>communication</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mapping</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BACnet</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ModBus</a:t>
            </a:r>
            <a:r>
              <a:rPr lang="de-CH" sz="1400" dirty="0">
                <a:solidFill>
                  <a:schemeClr val="tx1"/>
                </a:solidFill>
                <a:latin typeface="+mn-lt"/>
                <a:ea typeface="Arial Unicode MS" panose="020B0604020202020204" pitchFamily="34" charset="-128"/>
                <a:cs typeface="Arial Unicode MS" panose="020B0604020202020204" pitchFamily="34" charset="-128"/>
              </a:rPr>
              <a:t>) will </a:t>
            </a:r>
            <a:r>
              <a:rPr lang="de-CH" sz="1400" dirty="0" err="1">
                <a:solidFill>
                  <a:schemeClr val="tx1"/>
                </a:solidFill>
                <a:latin typeface="+mn-lt"/>
                <a:ea typeface="Arial Unicode MS" panose="020B0604020202020204" pitchFamily="34" charset="-128"/>
                <a:cs typeface="Arial Unicode MS" panose="020B0604020202020204" pitchFamily="34" charset="-128"/>
              </a:rPr>
              <a:t>be</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contained</a:t>
            </a:r>
            <a:r>
              <a:rPr lang="de-CH" sz="1400" dirty="0">
                <a:solidFill>
                  <a:schemeClr val="tx1"/>
                </a:solidFill>
                <a:latin typeface="+mn-lt"/>
                <a:ea typeface="Arial Unicode MS" panose="020B0604020202020204" pitchFamily="34" charset="-128"/>
                <a:cs typeface="Arial Unicode MS" panose="020B0604020202020204" pitchFamily="34" charset="-128"/>
              </a:rPr>
              <a:t> in </a:t>
            </a:r>
            <a:r>
              <a:rPr lang="de-CH" sz="1400" dirty="0" err="1">
                <a:solidFill>
                  <a:schemeClr val="tx1"/>
                </a:solidFill>
                <a:latin typeface="+mn-lt"/>
                <a:ea typeface="Arial Unicode MS" panose="020B0604020202020204" pitchFamily="34" charset="-128"/>
                <a:cs typeface="Arial Unicode MS" panose="020B0604020202020204" pitchFamily="34" charset="-128"/>
              </a:rPr>
              <a:t>this</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file</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as</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well</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when</a:t>
            </a:r>
            <a:r>
              <a:rPr lang="de-CH" sz="1400" dirty="0">
                <a:solidFill>
                  <a:schemeClr val="tx1"/>
                </a:solidFill>
                <a:latin typeface="+mn-lt"/>
                <a:ea typeface="Arial Unicode MS" panose="020B0604020202020204" pitchFamily="34" charset="-128"/>
                <a:cs typeface="Arial Unicode MS" panose="020B0604020202020204" pitchFamily="34" charset="-128"/>
              </a:rPr>
              <a:t> </a:t>
            </a:r>
            <a:r>
              <a:rPr lang="de-CH" sz="1400" dirty="0" err="1">
                <a:solidFill>
                  <a:schemeClr val="tx1"/>
                </a:solidFill>
                <a:latin typeface="+mn-lt"/>
                <a:ea typeface="Arial Unicode MS" panose="020B0604020202020204" pitchFamily="34" charset="-128"/>
                <a:cs typeface="Arial Unicode MS" panose="020B0604020202020204" pitchFamily="34" charset="-128"/>
              </a:rPr>
              <a:t>generated</a:t>
            </a:r>
            <a:r>
              <a:rPr lang="de-CH" sz="1400">
                <a:solidFill>
                  <a:schemeClr val="tx1"/>
                </a:solidFill>
                <a:latin typeface="+mn-lt"/>
                <a:ea typeface="Arial Unicode MS" panose="020B0604020202020204" pitchFamily="34" charset="-128"/>
                <a:cs typeface="Arial Unicode MS" panose="020B0604020202020204" pitchFamily="34" charset="-128"/>
              </a:rPr>
              <a:t>.</a:t>
            </a:r>
            <a:endParaRPr lang="de-CH" sz="1400" dirty="0">
              <a:solidFill>
                <a:schemeClr val="tx1"/>
              </a:solidFill>
              <a:latin typeface="+mn-lt"/>
              <a:ea typeface="Arial Unicode MS" panose="020B0604020202020204" pitchFamily="34" charset="-128"/>
              <a:cs typeface="Arial Unicode MS" panose="020B0604020202020204" pitchFamily="34" charset="-128"/>
            </a:endParaRPr>
          </a:p>
        </p:txBody>
      </p:sp>
      <p:grpSp>
        <p:nvGrpSpPr>
          <p:cNvPr id="11" name="Gruppieren 10">
            <a:extLst>
              <a:ext uri="{FF2B5EF4-FFF2-40B4-BE49-F238E27FC236}">
                <a16:creationId xmlns:a16="http://schemas.microsoft.com/office/drawing/2014/main" id="{2C8813BE-EB76-4F4F-BEA9-3CB8E8C1E59D}"/>
              </a:ext>
            </a:extLst>
          </p:cNvPr>
          <p:cNvGrpSpPr/>
          <p:nvPr/>
        </p:nvGrpSpPr>
        <p:grpSpPr>
          <a:xfrm>
            <a:off x="7467354" y="2481298"/>
            <a:ext cx="4647893" cy="2344734"/>
            <a:chOff x="8180452" y="6760764"/>
            <a:chExt cx="4647893" cy="2344734"/>
          </a:xfrm>
        </p:grpSpPr>
        <p:sp>
          <p:nvSpPr>
            <p:cNvPr id="82" name="Rechteck 81">
              <a:extLst>
                <a:ext uri="{FF2B5EF4-FFF2-40B4-BE49-F238E27FC236}">
                  <a16:creationId xmlns:a16="http://schemas.microsoft.com/office/drawing/2014/main" id="{CF7F1FEA-5F0A-4828-AB1A-3520C37CE0AE}"/>
                </a:ext>
              </a:extLst>
            </p:cNvPr>
            <p:cNvSpPr/>
            <p:nvPr/>
          </p:nvSpPr>
          <p:spPr bwMode="auto">
            <a:xfrm>
              <a:off x="8180452" y="6760764"/>
              <a:ext cx="4647893" cy="2344734"/>
            </a:xfrm>
            <a:prstGeom prst="rect">
              <a:avLst/>
            </a:prstGeom>
            <a:solidFill>
              <a:schemeClr val="bg1">
                <a:alpha val="88000"/>
              </a:schemeClr>
            </a:solidFill>
            <a:ln w="57150">
              <a:solidFill>
                <a:schemeClr val="accent3">
                  <a:lumMod val="75000"/>
                </a:schemeClr>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59" name="Cube 27">
              <a:extLst>
                <a:ext uri="{FF2B5EF4-FFF2-40B4-BE49-F238E27FC236}">
                  <a16:creationId xmlns:a16="http://schemas.microsoft.com/office/drawing/2014/main" id="{87AB1B76-ECD4-4B0B-BA6E-B68E55034277}"/>
                </a:ext>
              </a:extLst>
            </p:cNvPr>
            <p:cNvSpPr/>
            <p:nvPr/>
          </p:nvSpPr>
          <p:spPr bwMode="auto">
            <a:xfrm>
              <a:off x="8276542" y="7449696"/>
              <a:ext cx="457530" cy="449905"/>
            </a:xfrm>
            <a:prstGeom prst="cub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CH">
                <a:solidFill>
                  <a:schemeClr val="tx1"/>
                </a:solidFill>
                <a:latin typeface="+mn-lt"/>
                <a:ea typeface="Arial Unicode MS" panose="020B0604020202020204" pitchFamily="34" charset="-128"/>
                <a:cs typeface="Arial Unicode MS" panose="020B0604020202020204" pitchFamily="34" charset="-128"/>
              </a:endParaRPr>
            </a:p>
          </p:txBody>
        </p:sp>
        <p:sp>
          <p:nvSpPr>
            <p:cNvPr id="60" name="Cube 27">
              <a:extLst>
                <a:ext uri="{FF2B5EF4-FFF2-40B4-BE49-F238E27FC236}">
                  <a16:creationId xmlns:a16="http://schemas.microsoft.com/office/drawing/2014/main" id="{A32A6BC7-9034-48C5-A9B2-87EB8D53E4D0}"/>
                </a:ext>
              </a:extLst>
            </p:cNvPr>
            <p:cNvSpPr/>
            <p:nvPr/>
          </p:nvSpPr>
          <p:spPr bwMode="auto">
            <a:xfrm>
              <a:off x="8276542" y="7982501"/>
              <a:ext cx="457530" cy="449905"/>
            </a:xfrm>
            <a:prstGeom prst="cub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CH">
                <a:solidFill>
                  <a:schemeClr val="tx1"/>
                </a:solidFill>
                <a:latin typeface="+mn-lt"/>
                <a:ea typeface="Arial Unicode MS" panose="020B0604020202020204" pitchFamily="34" charset="-128"/>
                <a:cs typeface="Arial Unicode MS" panose="020B0604020202020204" pitchFamily="34" charset="-128"/>
              </a:endParaRPr>
            </a:p>
          </p:txBody>
        </p:sp>
        <p:sp>
          <p:nvSpPr>
            <p:cNvPr id="61" name="Cube 27">
              <a:extLst>
                <a:ext uri="{FF2B5EF4-FFF2-40B4-BE49-F238E27FC236}">
                  <a16:creationId xmlns:a16="http://schemas.microsoft.com/office/drawing/2014/main" id="{D8B15544-50A0-4B09-9DCD-3D584BF6DDF7}"/>
                </a:ext>
              </a:extLst>
            </p:cNvPr>
            <p:cNvSpPr/>
            <p:nvPr/>
          </p:nvSpPr>
          <p:spPr bwMode="auto">
            <a:xfrm>
              <a:off x="8276542" y="8515306"/>
              <a:ext cx="457530" cy="449905"/>
            </a:xfrm>
            <a:prstGeom prst="cub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CH">
                <a:solidFill>
                  <a:schemeClr val="tx1"/>
                </a:solidFill>
                <a:latin typeface="+mn-lt"/>
                <a:ea typeface="Arial Unicode MS" panose="020B0604020202020204" pitchFamily="34" charset="-128"/>
                <a:cs typeface="Arial Unicode MS" panose="020B0604020202020204" pitchFamily="34" charset="-128"/>
              </a:endParaRPr>
            </a:p>
          </p:txBody>
        </p:sp>
        <p:sp>
          <p:nvSpPr>
            <p:cNvPr id="62" name="TextBox 29">
              <a:extLst>
                <a:ext uri="{FF2B5EF4-FFF2-40B4-BE49-F238E27FC236}">
                  <a16:creationId xmlns:a16="http://schemas.microsoft.com/office/drawing/2014/main" id="{DCC4F5FC-28B6-4AD9-BCDD-22273C7D0AF4}"/>
                </a:ext>
              </a:extLst>
            </p:cNvPr>
            <p:cNvSpPr txBox="1"/>
            <p:nvPr/>
          </p:nvSpPr>
          <p:spPr>
            <a:xfrm>
              <a:off x="8777870" y="8613867"/>
              <a:ext cx="2708347" cy="252781"/>
            </a:xfrm>
            <a:prstGeom prst="rect">
              <a:avLst/>
            </a:prstGeom>
            <a:noFill/>
          </p:spPr>
          <p:txBody>
            <a:bodyPr wrap="none" lIns="0" tIns="0" rIns="0" bIns="0" rtlCol="0">
              <a:noAutofit/>
            </a:bodyPr>
            <a:lstStyle/>
            <a:p>
              <a:pPr algn="l">
                <a:lnSpc>
                  <a:spcPct val="110000"/>
                </a:lnSpc>
                <a:spcBef>
                  <a:spcPts val="0"/>
                </a:spcBef>
              </a:pPr>
              <a:r>
                <a:rPr lang="de-CH" sz="1600" b="1" dirty="0">
                  <a:solidFill>
                    <a:schemeClr val="tx1"/>
                  </a:solidFill>
                  <a:latin typeface="+mn-lt"/>
                  <a:ea typeface="Arial Unicode MS" panose="020B0604020202020204" pitchFamily="34" charset="-128"/>
                  <a:cs typeface="Arial Unicode MS" panose="020B0604020202020204" pitchFamily="34" charset="-128"/>
                </a:rPr>
                <a:t>HMI-</a:t>
              </a:r>
              <a:r>
                <a:rPr lang="de-CH" sz="1600" b="1" dirty="0" err="1">
                  <a:solidFill>
                    <a:schemeClr val="tx1"/>
                  </a:solidFill>
                  <a:latin typeface="+mn-lt"/>
                  <a:ea typeface="Arial Unicode MS" panose="020B0604020202020204" pitchFamily="34" charset="-128"/>
                  <a:cs typeface="Arial Unicode MS" panose="020B0604020202020204" pitchFamily="34" charset="-128"/>
                </a:rPr>
                <a:t>Cnf</a:t>
              </a:r>
              <a:r>
                <a:rPr lang="de-CH" sz="1600" b="1" dirty="0">
                  <a:solidFill>
                    <a:schemeClr val="tx1"/>
                  </a:solidFill>
                  <a:latin typeface="+mn-lt"/>
                  <a:ea typeface="Arial Unicode MS" panose="020B0604020202020204" pitchFamily="34" charset="-128"/>
                  <a:cs typeface="Arial Unicode MS" panose="020B0604020202020204" pitchFamily="34" charset="-128"/>
                </a:rPr>
                <a:t>-</a:t>
              </a:r>
              <a:r>
                <a:rPr lang="de-CH" sz="1600" b="1" dirty="0" err="1">
                  <a:solidFill>
                    <a:schemeClr val="tx1"/>
                  </a:solidFill>
                  <a:latin typeface="+mn-lt"/>
                  <a:ea typeface="Arial Unicode MS" panose="020B0604020202020204" pitchFamily="34" charset="-128"/>
                  <a:cs typeface="Arial Unicode MS" panose="020B0604020202020204" pitchFamily="34" charset="-128"/>
                </a:rPr>
                <a:t>Comp</a:t>
              </a:r>
              <a:r>
                <a:rPr lang="de-CH" sz="1600" dirty="0">
                  <a:solidFill>
                    <a:schemeClr val="tx1"/>
                  </a:solidFill>
                  <a:latin typeface="+mn-lt"/>
                  <a:ea typeface="Arial Unicode MS" panose="020B0604020202020204" pitchFamily="34" charset="-128"/>
                  <a:cs typeface="Arial Unicode MS" panose="020B0604020202020204" pitchFamily="34" charset="-128"/>
                </a:rPr>
                <a:t> (</a:t>
              </a:r>
              <a:r>
                <a:rPr lang="de-CH" sz="1600" dirty="0" err="1">
                  <a:solidFill>
                    <a:schemeClr val="tx1"/>
                  </a:solidFill>
                  <a:latin typeface="+mn-lt"/>
                  <a:ea typeface="Arial Unicode MS" panose="020B0604020202020204" pitchFamily="34" charset="-128"/>
                  <a:cs typeface="Arial Unicode MS" panose="020B0604020202020204" pitchFamily="34" charset="-128"/>
                </a:rPr>
                <a:t>Built</a:t>
              </a:r>
              <a:r>
                <a:rPr lang="de-CH" sz="1600" dirty="0">
                  <a:solidFill>
                    <a:schemeClr val="tx1"/>
                  </a:solidFill>
                  <a:latin typeface="+mn-lt"/>
                  <a:ea typeface="Arial Unicode MS" panose="020B0604020202020204" pitchFamily="34" charset="-128"/>
                  <a:cs typeface="Arial Unicode MS" panose="020B0604020202020204" pitchFamily="34" charset="-128"/>
                </a:rPr>
                <a:t>-in HMI, </a:t>
              </a:r>
              <a:r>
                <a:rPr lang="de-CH" sz="1600" dirty="0" err="1">
                  <a:solidFill>
                    <a:schemeClr val="tx1"/>
                  </a:solidFill>
                  <a:latin typeface="+mn-lt"/>
                  <a:ea typeface="Arial Unicode MS" panose="020B0604020202020204" pitchFamily="34" charset="-128"/>
                  <a:cs typeface="Arial Unicode MS" panose="020B0604020202020204" pitchFamily="34" charset="-128"/>
                </a:rPr>
                <a:t>Standalone</a:t>
              </a:r>
              <a:r>
                <a:rPr lang="de-CH" sz="1600" dirty="0">
                  <a:solidFill>
                    <a:schemeClr val="tx1"/>
                  </a:solidFill>
                  <a:latin typeface="+mn-lt"/>
                  <a:ea typeface="Arial Unicode MS" panose="020B0604020202020204" pitchFamily="34" charset="-128"/>
                  <a:cs typeface="Arial Unicode MS" panose="020B0604020202020204" pitchFamily="34" charset="-128"/>
                </a:rPr>
                <a:t>)</a:t>
              </a:r>
            </a:p>
          </p:txBody>
        </p:sp>
        <p:sp>
          <p:nvSpPr>
            <p:cNvPr id="63" name="TextBox 30">
              <a:extLst>
                <a:ext uri="{FF2B5EF4-FFF2-40B4-BE49-F238E27FC236}">
                  <a16:creationId xmlns:a16="http://schemas.microsoft.com/office/drawing/2014/main" id="{188857FE-D1D1-43E3-8477-830B2D496D74}"/>
                </a:ext>
              </a:extLst>
            </p:cNvPr>
            <p:cNvSpPr txBox="1"/>
            <p:nvPr/>
          </p:nvSpPr>
          <p:spPr>
            <a:xfrm>
              <a:off x="8777870" y="8049599"/>
              <a:ext cx="2708347" cy="335531"/>
            </a:xfrm>
            <a:prstGeom prst="rect">
              <a:avLst/>
            </a:prstGeom>
            <a:noFill/>
          </p:spPr>
          <p:txBody>
            <a:bodyPr wrap="none" lIns="0" tIns="0" rIns="0" bIns="0" rtlCol="0">
              <a:noAutofit/>
            </a:bodyPr>
            <a:lstStyle/>
            <a:p>
              <a:pPr algn="l">
                <a:lnSpc>
                  <a:spcPct val="110000"/>
                </a:lnSpc>
                <a:spcBef>
                  <a:spcPts val="0"/>
                </a:spcBef>
              </a:pPr>
              <a:r>
                <a:rPr lang="de-CH" sz="1600" b="1" dirty="0">
                  <a:solidFill>
                    <a:schemeClr val="tx1"/>
                  </a:solidFill>
                  <a:latin typeface="+mn-lt"/>
                  <a:ea typeface="Arial Unicode MS" panose="020B0604020202020204" pitchFamily="34" charset="-128"/>
                  <a:cs typeface="Arial Unicode MS" panose="020B0604020202020204" pitchFamily="34" charset="-128"/>
                </a:rPr>
                <a:t>HMI4Web </a:t>
              </a:r>
              <a:r>
                <a:rPr lang="de-CH" sz="1600" dirty="0">
                  <a:solidFill>
                    <a:schemeClr val="tx1"/>
                  </a:solidFill>
                  <a:latin typeface="+mn-lt"/>
                  <a:ea typeface="Arial Unicode MS" panose="020B0604020202020204" pitchFamily="34" charset="-128"/>
                  <a:cs typeface="Arial Unicode MS" panose="020B0604020202020204" pitchFamily="34" charset="-128"/>
                </a:rPr>
                <a:t>(Web </a:t>
              </a:r>
              <a:r>
                <a:rPr lang="de-CH" sz="1600" dirty="0" err="1">
                  <a:solidFill>
                    <a:schemeClr val="tx1"/>
                  </a:solidFill>
                  <a:latin typeface="+mn-lt"/>
                  <a:ea typeface="Arial Unicode MS" panose="020B0604020202020204" pitchFamily="34" charset="-128"/>
                  <a:cs typeface="Arial Unicode MS" panose="020B0604020202020204" pitchFamily="34" charset="-128"/>
                </a:rPr>
                <a:t>server</a:t>
              </a:r>
              <a:r>
                <a:rPr lang="de-CH" sz="1600" dirty="0">
                  <a:solidFill>
                    <a:schemeClr val="tx1"/>
                  </a:solidFill>
                  <a:latin typeface="+mn-lt"/>
                  <a:ea typeface="Arial Unicode MS" panose="020B0604020202020204" pitchFamily="34" charset="-128"/>
                  <a:cs typeface="Arial Unicode MS" panose="020B0604020202020204" pitchFamily="34" charset="-128"/>
                </a:rPr>
                <a:t> HMI) </a:t>
              </a:r>
            </a:p>
          </p:txBody>
        </p:sp>
        <p:sp>
          <p:nvSpPr>
            <p:cNvPr id="64" name="TextBox 31">
              <a:extLst>
                <a:ext uri="{FF2B5EF4-FFF2-40B4-BE49-F238E27FC236}">
                  <a16:creationId xmlns:a16="http://schemas.microsoft.com/office/drawing/2014/main" id="{EF5A2B92-7F16-4273-A3C9-1F4FAD5F3C35}"/>
                </a:ext>
              </a:extLst>
            </p:cNvPr>
            <p:cNvSpPr txBox="1"/>
            <p:nvPr/>
          </p:nvSpPr>
          <p:spPr>
            <a:xfrm>
              <a:off x="8777870" y="7529783"/>
              <a:ext cx="3313492" cy="276891"/>
            </a:xfrm>
            <a:prstGeom prst="rect">
              <a:avLst/>
            </a:prstGeom>
            <a:noFill/>
          </p:spPr>
          <p:txBody>
            <a:bodyPr wrap="none" lIns="0" tIns="0" rIns="0" bIns="0" rtlCol="0">
              <a:noAutofit/>
            </a:bodyPr>
            <a:lstStyle/>
            <a:p>
              <a:pPr algn="l">
                <a:lnSpc>
                  <a:spcPct val="110000"/>
                </a:lnSpc>
                <a:spcBef>
                  <a:spcPts val="0"/>
                </a:spcBef>
              </a:pPr>
              <a:r>
                <a:rPr lang="de-CH" sz="1600" b="1" dirty="0">
                  <a:solidFill>
                    <a:schemeClr val="tx1"/>
                  </a:solidFill>
                  <a:latin typeface="+mn-lt"/>
                  <a:ea typeface="Arial Unicode MS" panose="020B0604020202020204" pitchFamily="34" charset="-128"/>
                  <a:cs typeface="Arial Unicode MS" panose="020B0604020202020204" pitchFamily="34" charset="-128"/>
                </a:rPr>
                <a:t>Mapping-</a:t>
              </a:r>
              <a:r>
                <a:rPr lang="de-CH" sz="1600" b="1" dirty="0" err="1">
                  <a:solidFill>
                    <a:schemeClr val="tx1"/>
                  </a:solidFill>
                  <a:latin typeface="+mn-lt"/>
                  <a:ea typeface="Arial Unicode MS" panose="020B0604020202020204" pitchFamily="34" charset="-128"/>
                  <a:cs typeface="Arial Unicode MS" panose="020B0604020202020204" pitchFamily="34" charset="-128"/>
                </a:rPr>
                <a:t>Comp</a:t>
              </a:r>
              <a:r>
                <a:rPr lang="de-CH" sz="1600" b="1" dirty="0">
                  <a:solidFill>
                    <a:schemeClr val="tx1"/>
                  </a:solidFill>
                  <a:latin typeface="+mn-lt"/>
                  <a:ea typeface="Arial Unicode MS" panose="020B0604020202020204" pitchFamily="34" charset="-128"/>
                  <a:cs typeface="Arial Unicode MS" panose="020B0604020202020204" pitchFamily="34" charset="-128"/>
                </a:rPr>
                <a:t>*</a:t>
              </a:r>
              <a:r>
                <a:rPr lang="de-CH" sz="1600" dirty="0">
                  <a:solidFill>
                    <a:schemeClr val="tx1"/>
                  </a:solidFill>
                  <a:latin typeface="+mn-lt"/>
                  <a:ea typeface="Arial Unicode MS" panose="020B0604020202020204" pitchFamily="34" charset="-128"/>
                  <a:cs typeface="Arial Unicode MS" panose="020B0604020202020204" pitchFamily="34" charset="-128"/>
                </a:rPr>
                <a:t> (Cloud IC) </a:t>
              </a:r>
            </a:p>
          </p:txBody>
        </p:sp>
        <p:sp>
          <p:nvSpPr>
            <p:cNvPr id="79" name="Cube 27">
              <a:extLst>
                <a:ext uri="{FF2B5EF4-FFF2-40B4-BE49-F238E27FC236}">
                  <a16:creationId xmlns:a16="http://schemas.microsoft.com/office/drawing/2014/main" id="{B6A23980-07F1-43FF-821E-C1BFC7D1E2E1}"/>
                </a:ext>
              </a:extLst>
            </p:cNvPr>
            <p:cNvSpPr/>
            <p:nvPr/>
          </p:nvSpPr>
          <p:spPr bwMode="auto">
            <a:xfrm>
              <a:off x="8288918" y="6886826"/>
              <a:ext cx="457530" cy="449905"/>
            </a:xfrm>
            <a:prstGeom prst="cube">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CH">
                <a:solidFill>
                  <a:schemeClr val="tx1"/>
                </a:solidFill>
                <a:latin typeface="+mn-lt"/>
                <a:ea typeface="Arial Unicode MS" panose="020B0604020202020204" pitchFamily="34" charset="-128"/>
                <a:cs typeface="Arial Unicode MS" panose="020B0604020202020204" pitchFamily="34" charset="-128"/>
              </a:endParaRPr>
            </a:p>
          </p:txBody>
        </p:sp>
        <p:sp>
          <p:nvSpPr>
            <p:cNvPr id="44" name="TextBox 29">
              <a:extLst>
                <a:ext uri="{FF2B5EF4-FFF2-40B4-BE49-F238E27FC236}">
                  <a16:creationId xmlns:a16="http://schemas.microsoft.com/office/drawing/2014/main" id="{1410FC1A-4E5E-404E-AEC7-57FD30C36D45}"/>
                </a:ext>
              </a:extLst>
            </p:cNvPr>
            <p:cNvSpPr txBox="1"/>
            <p:nvPr/>
          </p:nvSpPr>
          <p:spPr>
            <a:xfrm>
              <a:off x="8777870" y="7027768"/>
              <a:ext cx="1503937" cy="286645"/>
            </a:xfrm>
            <a:prstGeom prst="rect">
              <a:avLst/>
            </a:prstGeom>
            <a:noFill/>
          </p:spPr>
          <p:txBody>
            <a:bodyPr wrap="none" lIns="0" tIns="0" rIns="0" bIns="0" rtlCol="0">
              <a:noAutofit/>
            </a:bodyPr>
            <a:lstStyle/>
            <a:p>
              <a:pPr algn="l">
                <a:lnSpc>
                  <a:spcPct val="110000"/>
                </a:lnSpc>
                <a:spcBef>
                  <a:spcPts val="0"/>
                </a:spcBef>
              </a:pPr>
              <a:r>
                <a:rPr lang="de-CH" sz="1600" b="1" dirty="0">
                  <a:solidFill>
                    <a:schemeClr val="tx1">
                      <a:lumMod val="50000"/>
                      <a:lumOff val="50000"/>
                    </a:schemeClr>
                  </a:solidFill>
                  <a:latin typeface="+mn-lt"/>
                  <a:ea typeface="Arial Unicode MS" panose="020B0604020202020204" pitchFamily="34" charset="-128"/>
                  <a:cs typeface="Arial Unicode MS" panose="020B0604020202020204" pitchFamily="34" charset="-128"/>
                </a:rPr>
                <a:t>Application </a:t>
              </a:r>
              <a:r>
                <a:rPr lang="de-CH" sz="1600" dirty="0">
                  <a:solidFill>
                    <a:schemeClr val="tx1">
                      <a:lumMod val="50000"/>
                      <a:lumOff val="50000"/>
                    </a:schemeClr>
                  </a:solidFill>
                  <a:latin typeface="+mn-lt"/>
                  <a:ea typeface="Arial Unicode MS" panose="020B0604020202020204" pitchFamily="34" charset="-128"/>
                  <a:cs typeface="Arial Unicode MS" panose="020B0604020202020204" pitchFamily="34" charset="-128"/>
                </a:rPr>
                <a:t>(</a:t>
              </a:r>
              <a:r>
                <a:rPr lang="de-CH" sz="1600" dirty="0" err="1">
                  <a:solidFill>
                    <a:schemeClr val="tx1">
                      <a:lumMod val="50000"/>
                      <a:lumOff val="50000"/>
                    </a:schemeClr>
                  </a:solidFill>
                  <a:latin typeface="+mn-lt"/>
                  <a:ea typeface="Arial Unicode MS" panose="020B0604020202020204" pitchFamily="34" charset="-128"/>
                  <a:cs typeface="Arial Unicode MS" panose="020B0604020202020204" pitchFamily="34" charset="-128"/>
                </a:rPr>
                <a:t>MBRTCode.ucf</a:t>
              </a:r>
              <a:r>
                <a:rPr lang="de-CH" sz="1600" dirty="0">
                  <a:solidFill>
                    <a:schemeClr val="tx1">
                      <a:lumMod val="50000"/>
                      <a:lumOff val="50000"/>
                    </a:schemeClr>
                  </a:solidFill>
                  <a:latin typeface="+mn-lt"/>
                  <a:ea typeface="Arial Unicode MS" panose="020B0604020202020204" pitchFamily="34" charset="-128"/>
                  <a:cs typeface="Arial Unicode MS" panose="020B0604020202020204" pitchFamily="34" charset="-128"/>
                </a:rPr>
                <a:t>)</a:t>
              </a:r>
            </a:p>
          </p:txBody>
        </p:sp>
      </p:grpSp>
      <p:grpSp>
        <p:nvGrpSpPr>
          <p:cNvPr id="10" name="Gruppieren 9">
            <a:extLst>
              <a:ext uri="{FF2B5EF4-FFF2-40B4-BE49-F238E27FC236}">
                <a16:creationId xmlns:a16="http://schemas.microsoft.com/office/drawing/2014/main" id="{40CB39DF-9302-4804-A567-D4A4B64B929A}"/>
              </a:ext>
            </a:extLst>
          </p:cNvPr>
          <p:cNvGrpSpPr/>
          <p:nvPr/>
        </p:nvGrpSpPr>
        <p:grpSpPr>
          <a:xfrm>
            <a:off x="6146717" y="3976659"/>
            <a:ext cx="1548796" cy="630762"/>
            <a:chOff x="6934616" y="7651529"/>
            <a:chExt cx="1548796" cy="630762"/>
          </a:xfrm>
        </p:grpSpPr>
        <p:cxnSp>
          <p:nvCxnSpPr>
            <p:cNvPr id="85" name="Straight Arrow Connector 3">
              <a:extLst>
                <a:ext uri="{FF2B5EF4-FFF2-40B4-BE49-F238E27FC236}">
                  <a16:creationId xmlns:a16="http://schemas.microsoft.com/office/drawing/2014/main" id="{C1E9EA43-BBB2-40DC-8066-0115F08F809A}"/>
                </a:ext>
              </a:extLst>
            </p:cNvPr>
            <p:cNvCxnSpPr>
              <a:cxnSpLocks/>
            </p:cNvCxnSpPr>
            <p:nvPr/>
          </p:nvCxnSpPr>
          <p:spPr bwMode="auto">
            <a:xfrm>
              <a:off x="7972830" y="8101434"/>
              <a:ext cx="503212" cy="180857"/>
            </a:xfrm>
            <a:prstGeom prst="straightConnector1">
              <a:avLst/>
            </a:prstGeom>
            <a:ln>
              <a:solidFill>
                <a:schemeClr val="accent6">
                  <a:lumMod val="75000"/>
                </a:schemeClr>
              </a:solidFill>
              <a:headEnd type="none" w="med" len="med"/>
              <a:tailEnd type="triangle"/>
            </a:ln>
          </p:spPr>
          <p:style>
            <a:lnRef idx="3">
              <a:schemeClr val="dk1"/>
            </a:lnRef>
            <a:fillRef idx="0">
              <a:schemeClr val="dk1"/>
            </a:fillRef>
            <a:effectRef idx="2">
              <a:schemeClr val="dk1"/>
            </a:effectRef>
            <a:fontRef idx="minor">
              <a:schemeClr val="tx1"/>
            </a:fontRef>
          </p:style>
        </p:cxnSp>
        <p:cxnSp>
          <p:nvCxnSpPr>
            <p:cNvPr id="89" name="Straight Arrow Connector 3">
              <a:extLst>
                <a:ext uri="{FF2B5EF4-FFF2-40B4-BE49-F238E27FC236}">
                  <a16:creationId xmlns:a16="http://schemas.microsoft.com/office/drawing/2014/main" id="{8A046D43-F052-4625-9770-432260953FB9}"/>
                </a:ext>
              </a:extLst>
            </p:cNvPr>
            <p:cNvCxnSpPr>
              <a:cxnSpLocks/>
            </p:cNvCxnSpPr>
            <p:nvPr/>
          </p:nvCxnSpPr>
          <p:spPr bwMode="auto">
            <a:xfrm flipV="1">
              <a:off x="7965485" y="7651529"/>
              <a:ext cx="517927" cy="400924"/>
            </a:xfrm>
            <a:prstGeom prst="straightConnector1">
              <a:avLst/>
            </a:prstGeom>
            <a:ln>
              <a:solidFill>
                <a:schemeClr val="accent6">
                  <a:lumMod val="75000"/>
                </a:schemeClr>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5" name="Rechteck 22">
              <a:extLst>
                <a:ext uri="{FF2B5EF4-FFF2-40B4-BE49-F238E27FC236}">
                  <a16:creationId xmlns:a16="http://schemas.microsoft.com/office/drawing/2014/main" id="{E11662F6-A4F9-48D6-893C-C0925893F19E}"/>
                </a:ext>
              </a:extLst>
            </p:cNvPr>
            <p:cNvSpPr>
              <a:spLocks noChangeArrowheads="1"/>
            </p:cNvSpPr>
            <p:nvPr/>
          </p:nvSpPr>
          <p:spPr bwMode="auto">
            <a:xfrm>
              <a:off x="6934616" y="7886190"/>
              <a:ext cx="1197312" cy="342145"/>
            </a:xfrm>
            <a:prstGeom prst="rect">
              <a:avLst/>
            </a:prstGeom>
            <a:solidFill>
              <a:schemeClr val="accent6"/>
            </a:solidFill>
            <a:ln w="9525">
              <a:noFill/>
              <a:miter lim="800000"/>
              <a:headEnd/>
              <a:tailEnd/>
            </a:ln>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solidFill>
                    <a:schemeClr val="bg1"/>
                  </a:solidFill>
                </a:rPr>
                <a:t>HMI Editor</a:t>
              </a:r>
              <a:endParaRPr lang="de-DE" altLang="en-US" sz="1600" dirty="0">
                <a:solidFill>
                  <a:schemeClr val="bg1"/>
                </a:solidFill>
              </a:endParaRPr>
            </a:p>
          </p:txBody>
        </p:sp>
      </p:grpSp>
      <p:pic>
        <p:nvPicPr>
          <p:cNvPr id="58" name="Picture 6">
            <a:extLst>
              <a:ext uri="{FF2B5EF4-FFF2-40B4-BE49-F238E27FC236}">
                <a16:creationId xmlns:a16="http://schemas.microsoft.com/office/drawing/2014/main" id="{65457C06-F54D-425D-927A-83A418E917D5}"/>
              </a:ext>
            </a:extLst>
          </p:cNvPr>
          <p:cNvPicPr>
            <a:picLocks noChangeAspect="1"/>
          </p:cNvPicPr>
          <p:nvPr/>
        </p:nvPicPr>
        <p:blipFill>
          <a:blip r:embed="rId4"/>
          <a:stretch>
            <a:fillRect/>
          </a:stretch>
        </p:blipFill>
        <p:spPr>
          <a:xfrm>
            <a:off x="10852145" y="2629853"/>
            <a:ext cx="391150" cy="378111"/>
          </a:xfrm>
          <a:prstGeom prst="rect">
            <a:avLst/>
          </a:prstGeom>
        </p:spPr>
      </p:pic>
      <p:cxnSp>
        <p:nvCxnSpPr>
          <p:cNvPr id="37" name="Straight Arrow Connector 3">
            <a:extLst>
              <a:ext uri="{FF2B5EF4-FFF2-40B4-BE49-F238E27FC236}">
                <a16:creationId xmlns:a16="http://schemas.microsoft.com/office/drawing/2014/main" id="{931C7C9F-50AA-4900-9C20-9A0F70EC2929}"/>
              </a:ext>
            </a:extLst>
          </p:cNvPr>
          <p:cNvCxnSpPr>
            <a:cxnSpLocks/>
            <a:stCxn id="3" idx="3"/>
          </p:cNvCxnSpPr>
          <p:nvPr/>
        </p:nvCxnSpPr>
        <p:spPr bwMode="auto">
          <a:xfrm flipV="1">
            <a:off x="5674360" y="3475127"/>
            <a:ext cx="2064085" cy="869360"/>
          </a:xfrm>
          <a:prstGeom prst="straightConnector1">
            <a:avLst/>
          </a:prstGeom>
          <a:ln>
            <a:solidFill>
              <a:srgbClr val="0070C0"/>
            </a:solidFill>
            <a:headEnd type="none" w="med" len="med"/>
            <a:tailEnd type="triangle"/>
          </a:ln>
        </p:spPr>
        <p:style>
          <a:lnRef idx="3">
            <a:schemeClr val="dk1"/>
          </a:lnRef>
          <a:fillRef idx="0">
            <a:schemeClr val="dk1"/>
          </a:fillRef>
          <a:effectRef idx="2">
            <a:schemeClr val="dk1"/>
          </a:effectRef>
          <a:fontRef idx="minor">
            <a:schemeClr val="tx1"/>
          </a:fontRef>
        </p:style>
      </p:cxnSp>
      <p:sp>
        <p:nvSpPr>
          <p:cNvPr id="34" name="Textfeld 337">
            <a:extLst>
              <a:ext uri="{FF2B5EF4-FFF2-40B4-BE49-F238E27FC236}">
                <a16:creationId xmlns:a16="http://schemas.microsoft.com/office/drawing/2014/main" id="{4F80511D-7EBA-44F0-9C2A-C15E42EA08CE}"/>
              </a:ext>
            </a:extLst>
          </p:cNvPr>
          <p:cNvSpPr txBox="1"/>
          <p:nvPr/>
        </p:nvSpPr>
        <p:spPr>
          <a:xfrm>
            <a:off x="-1" y="5391703"/>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b="0" kern="1200" dirty="0">
                <a:latin typeface="+mj-lt"/>
                <a:ea typeface="+mn-ea"/>
              </a:rPr>
              <a:t>HMI file creation</a:t>
            </a:r>
            <a:endParaRPr lang="en-US" sz="1100" b="0" u="none" strike="noStrike" kern="1200" dirty="0">
              <a:effectLst/>
              <a:latin typeface="+mj-lt"/>
              <a:ea typeface="+mn-ea"/>
            </a:endParaRPr>
          </a:p>
        </p:txBody>
      </p:sp>
    </p:spTree>
    <p:extLst>
      <p:ext uri="{BB962C8B-B14F-4D97-AF65-F5344CB8AC3E}">
        <p14:creationId xmlns:p14="http://schemas.microsoft.com/office/powerpoint/2010/main" val="423492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en-US" noProof="0"/>
          </a:p>
        </p:txBody>
      </p:sp>
      <p:sp>
        <p:nvSpPr>
          <p:cNvPr id="5" name="Rechteck 13">
            <a:extLst>
              <a:ext uri="{FF2B5EF4-FFF2-40B4-BE49-F238E27FC236}">
                <a16:creationId xmlns:a16="http://schemas.microsoft.com/office/drawing/2014/main" id="{103D8173-6F1F-4509-BBE1-E395DBD8F138}"/>
              </a:ext>
            </a:extLst>
          </p:cNvPr>
          <p:cNvSpPr>
            <a:spLocks noChangeArrowheads="1"/>
          </p:cNvSpPr>
          <p:nvPr/>
        </p:nvSpPr>
        <p:spPr bwMode="auto">
          <a:xfrm>
            <a:off x="1220768" y="1559091"/>
            <a:ext cx="4572000"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a:solidFill>
                  <a:schemeClr val="tx1"/>
                </a:solidFill>
                <a:latin typeface="Arial" panose="020B0604020202020204" pitchFamily="34" charset="0"/>
              </a:defRPr>
            </a:lvl1pPr>
            <a:lvl2pPr marL="742950" indent="-285750" eaLnBrk="0" hangingPunct="0">
              <a:defRPr sz="1400">
                <a:solidFill>
                  <a:schemeClr val="tx1"/>
                </a:solidFill>
                <a:latin typeface="Arial" panose="020B0604020202020204" pitchFamily="34" charset="0"/>
              </a:defRPr>
            </a:lvl2pPr>
            <a:lvl3pPr marL="1143000" indent="-228600" eaLnBrk="0" hangingPunct="0">
              <a:defRPr sz="1400">
                <a:solidFill>
                  <a:schemeClr val="tx1"/>
                </a:solidFill>
                <a:latin typeface="Arial" panose="020B0604020202020204" pitchFamily="34" charset="0"/>
              </a:defRPr>
            </a:lvl3pPr>
            <a:lvl4pPr marL="1600200" indent="-228600" eaLnBrk="0" hangingPunct="0">
              <a:defRPr sz="1400">
                <a:solidFill>
                  <a:schemeClr val="tx1"/>
                </a:solidFill>
                <a:latin typeface="Arial" panose="020B0604020202020204" pitchFamily="34" charset="0"/>
              </a:defRPr>
            </a:lvl4pPr>
            <a:lvl5pPr marL="2057400" indent="-228600" eaLnBrk="0" hangingPunct="0">
              <a:defRPr sz="1400">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sz="1400">
                <a:solidFill>
                  <a:schemeClr val="tx1"/>
                </a:solidFill>
                <a:latin typeface="Arial" panose="020B0604020202020204" pitchFamily="34" charset="0"/>
              </a:defRPr>
            </a:lvl9pPr>
          </a:lstStyle>
          <a:p>
            <a:pPr eaLnBrk="1" hangingPunct="1"/>
            <a:endParaRPr lang="en-US" altLang="de-DE"/>
          </a:p>
          <a:p>
            <a:pPr eaLnBrk="1" hangingPunct="1"/>
            <a:endParaRPr lang="en-US" altLang="de-DE"/>
          </a:p>
          <a:p>
            <a:pPr eaLnBrk="1" hangingPunct="1"/>
            <a:endParaRPr lang="en-US" altLang="de-DE"/>
          </a:p>
          <a:p>
            <a:pPr eaLnBrk="1" hangingPunct="1"/>
            <a:endParaRPr lang="en-US" altLang="de-DE"/>
          </a:p>
        </p:txBody>
      </p:sp>
      <p:sp>
        <p:nvSpPr>
          <p:cNvPr id="43" name="cdtText Box 4 Id114692">
            <a:extLst>
              <a:ext uri="{FF2B5EF4-FFF2-40B4-BE49-F238E27FC236}">
                <a16:creationId xmlns:a16="http://schemas.microsoft.com/office/drawing/2014/main" id="{C6E54D6C-C479-46C9-BD1C-06EFA0E2F6CB}"/>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HMI Editor</a:t>
            </a:r>
          </a:p>
        </p:txBody>
      </p:sp>
      <p:pic>
        <p:nvPicPr>
          <p:cNvPr id="1028" name="Picture 4">
            <a:extLst>
              <a:ext uri="{FF2B5EF4-FFF2-40B4-BE49-F238E27FC236}">
                <a16:creationId xmlns:a16="http://schemas.microsoft.com/office/drawing/2014/main" id="{4B8104F1-11D8-40C6-80CE-24DB5D3410F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1" t="-1653" r="17627"/>
          <a:stretch/>
        </p:blipFill>
        <p:spPr bwMode="auto">
          <a:xfrm>
            <a:off x="2160000" y="354785"/>
            <a:ext cx="9657752" cy="6311107"/>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abgerundete Ecken 6">
            <a:extLst>
              <a:ext uri="{FF2B5EF4-FFF2-40B4-BE49-F238E27FC236}">
                <a16:creationId xmlns:a16="http://schemas.microsoft.com/office/drawing/2014/main" id="{23AB4AED-D5AA-45EE-B34E-A09BECC5AE40}"/>
              </a:ext>
            </a:extLst>
          </p:cNvPr>
          <p:cNvSpPr/>
          <p:nvPr/>
        </p:nvSpPr>
        <p:spPr bwMode="auto">
          <a:xfrm>
            <a:off x="5946140" y="4238718"/>
            <a:ext cx="954531" cy="266333"/>
          </a:xfrm>
          <a:prstGeom prst="roundRect">
            <a:avLst/>
          </a:prstGeom>
          <a:noFill/>
          <a:ln w="57150">
            <a:solidFill>
              <a:srgbClr val="0070C0"/>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8" name="Rechteck: abgerundete Ecken 7">
            <a:extLst>
              <a:ext uri="{FF2B5EF4-FFF2-40B4-BE49-F238E27FC236}">
                <a16:creationId xmlns:a16="http://schemas.microsoft.com/office/drawing/2014/main" id="{E225BA01-6874-4E7C-A1F7-BC9D0407DE3C}"/>
              </a:ext>
            </a:extLst>
          </p:cNvPr>
          <p:cNvSpPr/>
          <p:nvPr/>
        </p:nvSpPr>
        <p:spPr bwMode="auto">
          <a:xfrm>
            <a:off x="5946140" y="5356960"/>
            <a:ext cx="1466595" cy="266333"/>
          </a:xfrm>
          <a:prstGeom prst="roundRect">
            <a:avLst/>
          </a:prstGeom>
          <a:noFill/>
          <a:ln w="57150">
            <a:solidFill>
              <a:srgbClr val="0070C0"/>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0" name="Textfeld 337">
            <a:extLst>
              <a:ext uri="{FF2B5EF4-FFF2-40B4-BE49-F238E27FC236}">
                <a16:creationId xmlns:a16="http://schemas.microsoft.com/office/drawing/2014/main" id="{B3339FA1-B3CF-4177-9596-FD533E7E5DE3}"/>
              </a:ext>
            </a:extLst>
          </p:cNvPr>
          <p:cNvSpPr txBox="1"/>
          <p:nvPr/>
        </p:nvSpPr>
        <p:spPr>
          <a:xfrm>
            <a:off x="-1" y="5391703"/>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b="0" kern="1200" dirty="0">
                <a:latin typeface="+mj-lt"/>
                <a:ea typeface="+mn-ea"/>
              </a:rPr>
              <a:t>HMI file creation</a:t>
            </a:r>
            <a:endParaRPr lang="en-US" sz="1100" b="0" u="none" strike="noStrike" kern="1200" dirty="0">
              <a:effectLst/>
              <a:latin typeface="+mj-lt"/>
              <a:ea typeface="+mn-ea"/>
            </a:endParaRPr>
          </a:p>
        </p:txBody>
      </p:sp>
    </p:spTree>
    <p:extLst>
      <p:ext uri="{BB962C8B-B14F-4D97-AF65-F5344CB8AC3E}">
        <p14:creationId xmlns:p14="http://schemas.microsoft.com/office/powerpoint/2010/main" val="141923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dtText Box 4 Id114692">
            <a:extLst>
              <a:ext uri="{FF2B5EF4-FFF2-40B4-BE49-F238E27FC236}">
                <a16:creationId xmlns:a16="http://schemas.microsoft.com/office/drawing/2014/main" id="{78147749-85E7-4110-B55A-DB45D6D85C1A}"/>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HMI Engineering Databases</a:t>
            </a:r>
          </a:p>
        </p:txBody>
      </p:sp>
      <p:sp>
        <p:nvSpPr>
          <p:cNvPr id="28" name="Rechteck 22">
            <a:extLst>
              <a:ext uri="{FF2B5EF4-FFF2-40B4-BE49-F238E27FC236}">
                <a16:creationId xmlns:a16="http://schemas.microsoft.com/office/drawing/2014/main" id="{0E80F07F-4042-402D-AA78-ED4E6DDDE9C0}"/>
              </a:ext>
            </a:extLst>
          </p:cNvPr>
          <p:cNvSpPr>
            <a:spLocks noChangeArrowheads="1"/>
          </p:cNvSpPr>
          <p:nvPr/>
        </p:nvSpPr>
        <p:spPr bwMode="auto">
          <a:xfrm>
            <a:off x="2221591" y="514473"/>
            <a:ext cx="5099558" cy="3813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t>HMI </a:t>
            </a:r>
            <a:r>
              <a:rPr lang="de-CH" altLang="en-US" sz="1600" dirty="0" err="1"/>
              <a:t>engineering</a:t>
            </a:r>
            <a:r>
              <a:rPr lang="de-CH" altLang="en-US" sz="1600" dirty="0"/>
              <a:t> </a:t>
            </a:r>
            <a:r>
              <a:rPr lang="de-CH" altLang="en-US" sz="1600" dirty="0" err="1"/>
              <a:t>data</a:t>
            </a:r>
            <a:r>
              <a:rPr lang="de-CH" altLang="en-US" sz="1600" dirty="0"/>
              <a:t> </a:t>
            </a:r>
            <a:r>
              <a:rPr lang="de-CH" altLang="en-US" sz="1600" dirty="0" err="1"/>
              <a:t>are</a:t>
            </a:r>
            <a:r>
              <a:rPr lang="de-CH" altLang="en-US" sz="1600" dirty="0"/>
              <a:t> </a:t>
            </a:r>
            <a:r>
              <a:rPr lang="de-CH" altLang="en-US" sz="1600" dirty="0" err="1"/>
              <a:t>stored</a:t>
            </a:r>
            <a:r>
              <a:rPr lang="de-CH" altLang="en-US" sz="1600" dirty="0"/>
              <a:t> in </a:t>
            </a:r>
            <a:r>
              <a:rPr lang="de-CH" altLang="en-US" sz="1600" dirty="0" err="1"/>
              <a:t>three</a:t>
            </a:r>
            <a:r>
              <a:rPr lang="de-CH" altLang="en-US" sz="1600" dirty="0"/>
              <a:t> </a:t>
            </a:r>
            <a:r>
              <a:rPr lang="de-CH" altLang="en-US" sz="1600" dirty="0" err="1"/>
              <a:t>databases</a:t>
            </a:r>
            <a:r>
              <a:rPr lang="de-CH" altLang="en-US" sz="1600" dirty="0"/>
              <a:t>:</a:t>
            </a:r>
          </a:p>
          <a:p>
            <a:pPr marL="342900" indent="-342900" algn="l" eaLnBrk="1" hangingPunct="1">
              <a:buClr>
                <a:schemeClr val="tx2"/>
              </a:buClr>
              <a:buFont typeface="Wingdings" panose="05000000000000000000" pitchFamily="2" charset="2"/>
              <a:buChar char="§"/>
            </a:pPr>
            <a:r>
              <a:rPr lang="de-CH" altLang="en-US" sz="1600" b="1" dirty="0">
                <a:solidFill>
                  <a:schemeClr val="bg1"/>
                </a:solidFill>
                <a:highlight>
                  <a:srgbClr val="0080B6"/>
                </a:highlight>
              </a:rPr>
              <a:t>System </a:t>
            </a:r>
            <a:r>
              <a:rPr lang="de-CH" altLang="en-US" sz="1600" dirty="0" err="1">
                <a:solidFill>
                  <a:schemeClr val="bg1"/>
                </a:solidFill>
                <a:highlight>
                  <a:srgbClr val="0080B6"/>
                </a:highlight>
              </a:rPr>
              <a:t>database</a:t>
            </a:r>
            <a:r>
              <a:rPr lang="de-CH" altLang="en-US" sz="1600" b="1" dirty="0">
                <a:solidFill>
                  <a:schemeClr val="bg1"/>
                </a:solidFill>
                <a:highlight>
                  <a:srgbClr val="0080B6"/>
                </a:highlight>
              </a:rPr>
              <a:t> </a:t>
            </a:r>
            <a:r>
              <a:rPr lang="de-CH" altLang="en-US" sz="1600" dirty="0">
                <a:solidFill>
                  <a:schemeClr val="bg1"/>
                </a:solidFill>
                <a:highlight>
                  <a:srgbClr val="0080B6"/>
                </a:highlight>
              </a:rPr>
              <a:t>(</a:t>
            </a:r>
            <a:r>
              <a:rPr lang="de-CH" altLang="en-US" sz="1600" dirty="0" err="1">
                <a:solidFill>
                  <a:schemeClr val="bg1"/>
                </a:solidFill>
                <a:highlight>
                  <a:srgbClr val="0080B6"/>
                </a:highlight>
              </a:rPr>
              <a:t>default</a:t>
            </a:r>
            <a:r>
              <a:rPr lang="de-CH" altLang="en-US" sz="1600" dirty="0">
                <a:solidFill>
                  <a:schemeClr val="bg1"/>
                </a:solidFill>
                <a:highlight>
                  <a:srgbClr val="0080B6"/>
                </a:highlight>
              </a:rPr>
              <a:t>): </a:t>
            </a:r>
            <a:r>
              <a:rPr lang="en-US" altLang="en-US" sz="1600" dirty="0"/>
              <a:t>This database contains the Siemens</a:t>
            </a:r>
            <a:r>
              <a:rPr lang="en-US" altLang="en-US" sz="1600" b="1" dirty="0"/>
              <a:t> </a:t>
            </a:r>
            <a:r>
              <a:rPr lang="en-US" altLang="en-US" sz="1600" dirty="0"/>
              <a:t>default system </a:t>
            </a:r>
            <a:r>
              <a:rPr lang="en-US" altLang="en-US" sz="1600" b="1" dirty="0">
                <a:solidFill>
                  <a:schemeClr val="bg1"/>
                </a:solidFill>
                <a:highlight>
                  <a:srgbClr val="0080B6"/>
                </a:highlight>
              </a:rPr>
              <a:t>template pages </a:t>
            </a:r>
            <a:r>
              <a:rPr lang="en-US" altLang="en-US" sz="1600" dirty="0"/>
              <a:t>and </a:t>
            </a:r>
            <a:r>
              <a:rPr lang="en-US" altLang="en-US" sz="1600" b="1" dirty="0">
                <a:highlight>
                  <a:srgbClr val="90EEF8"/>
                </a:highlight>
              </a:rPr>
              <a:t>texts</a:t>
            </a:r>
            <a:r>
              <a:rPr lang="en-US" altLang="en-US" sz="1600" dirty="0"/>
              <a:t> such as alarming and diagnostic.</a:t>
            </a:r>
            <a:endParaRPr lang="de-CH" altLang="en-US" sz="1600" dirty="0"/>
          </a:p>
          <a:p>
            <a:pPr marL="342900" indent="-342900" algn="l" eaLnBrk="1" hangingPunct="1">
              <a:buClr>
                <a:schemeClr val="tx2"/>
              </a:buClr>
              <a:buFont typeface="Wingdings" panose="05000000000000000000" pitchFamily="2" charset="2"/>
              <a:buChar char="§"/>
            </a:pPr>
            <a:r>
              <a:rPr lang="de-CH" altLang="en-US" sz="1600" b="1" dirty="0">
                <a:solidFill>
                  <a:schemeClr val="bg1"/>
                </a:solidFill>
                <a:highlight>
                  <a:srgbClr val="0080B6"/>
                </a:highlight>
              </a:rPr>
              <a:t>OEM </a:t>
            </a:r>
            <a:r>
              <a:rPr lang="de-CH" altLang="en-US" sz="1600" dirty="0" err="1">
                <a:solidFill>
                  <a:schemeClr val="bg1"/>
                </a:solidFill>
                <a:highlight>
                  <a:srgbClr val="0080B6"/>
                </a:highlight>
              </a:rPr>
              <a:t>database</a:t>
            </a:r>
            <a:r>
              <a:rPr lang="de-CH" altLang="en-US" sz="1600" dirty="0">
                <a:solidFill>
                  <a:schemeClr val="bg1"/>
                </a:solidFill>
                <a:highlight>
                  <a:srgbClr val="0080B6"/>
                </a:highlight>
              </a:rPr>
              <a:t> (optional): </a:t>
            </a:r>
            <a:r>
              <a:rPr lang="en-US" altLang="en-US" sz="1600" dirty="0"/>
              <a:t>This database contains OEM specific </a:t>
            </a:r>
            <a:r>
              <a:rPr lang="en-US" altLang="en-US" sz="1600" dirty="0">
                <a:solidFill>
                  <a:schemeClr val="bg1"/>
                </a:solidFill>
                <a:highlight>
                  <a:srgbClr val="0080B6"/>
                </a:highlight>
              </a:rPr>
              <a:t>template pages </a:t>
            </a:r>
            <a:r>
              <a:rPr lang="en-US" altLang="en-US" sz="1600" dirty="0"/>
              <a:t>and </a:t>
            </a:r>
            <a:r>
              <a:rPr lang="en-US" altLang="en-US" sz="1600" b="1" dirty="0">
                <a:highlight>
                  <a:srgbClr val="90EEF8"/>
                </a:highlight>
              </a:rPr>
              <a:t>texts</a:t>
            </a:r>
            <a:r>
              <a:rPr lang="en-US" altLang="en-US" sz="1600" dirty="0">
                <a:highlight>
                  <a:srgbClr val="90EEF8"/>
                </a:highlight>
              </a:rPr>
              <a:t> </a:t>
            </a:r>
            <a:r>
              <a:rPr lang="en-US" altLang="en-US" sz="1600" dirty="0"/>
              <a:t>once generated, to be shared by multiple projects, according to the setting in every SCOPE </a:t>
            </a:r>
            <a:r>
              <a:rPr lang="en-US" altLang="en-US" sz="1600"/>
              <a:t>project.</a:t>
            </a:r>
          </a:p>
          <a:p>
            <a:pPr algn="l" eaLnBrk="1" hangingPunct="1">
              <a:buClr>
                <a:schemeClr val="tx2"/>
              </a:buClr>
            </a:pPr>
            <a:endParaRPr lang="en-US" altLang="en-US" sz="1600" dirty="0"/>
          </a:p>
          <a:p>
            <a:pPr marL="342900" indent="-342900" algn="l" eaLnBrk="1" hangingPunct="1">
              <a:buClr>
                <a:schemeClr val="tx2"/>
              </a:buClr>
              <a:buFont typeface="Wingdings" panose="05000000000000000000" pitchFamily="2" charset="2"/>
              <a:buChar char="§"/>
            </a:pPr>
            <a:r>
              <a:rPr lang="de-CH" altLang="en-US" sz="1600" b="1" dirty="0">
                <a:solidFill>
                  <a:schemeClr val="bg1"/>
                </a:solidFill>
                <a:highlight>
                  <a:srgbClr val="0080B6"/>
                </a:highlight>
              </a:rPr>
              <a:t>Project </a:t>
            </a:r>
            <a:r>
              <a:rPr lang="de-CH" altLang="en-US" sz="1600" dirty="0" err="1">
                <a:solidFill>
                  <a:schemeClr val="bg1"/>
                </a:solidFill>
                <a:highlight>
                  <a:srgbClr val="0080B6"/>
                </a:highlight>
              </a:rPr>
              <a:t>database</a:t>
            </a:r>
            <a:r>
              <a:rPr lang="de-CH" altLang="en-US" sz="1600" dirty="0">
                <a:solidFill>
                  <a:schemeClr val="bg1"/>
                </a:solidFill>
                <a:highlight>
                  <a:srgbClr val="0080B6"/>
                </a:highlight>
              </a:rPr>
              <a:t>: </a:t>
            </a:r>
            <a:r>
              <a:rPr lang="de-CH" altLang="en-US" sz="1600" dirty="0"/>
              <a:t>This </a:t>
            </a:r>
            <a:r>
              <a:rPr lang="de-CH" altLang="en-US" sz="1600" dirty="0" err="1"/>
              <a:t>database</a:t>
            </a:r>
            <a:r>
              <a:rPr lang="de-CH" altLang="en-US" sz="1600" dirty="0"/>
              <a:t> </a:t>
            </a:r>
            <a:r>
              <a:rPr lang="de-CH" altLang="en-US" sz="1600" dirty="0" err="1"/>
              <a:t>contains</a:t>
            </a:r>
            <a:r>
              <a:rPr lang="de-CH" altLang="en-US" sz="1600" dirty="0"/>
              <a:t> </a:t>
            </a:r>
            <a:r>
              <a:rPr lang="de-CH" altLang="en-US" sz="1600" dirty="0" err="1"/>
              <a:t>project</a:t>
            </a:r>
            <a:r>
              <a:rPr lang="de-CH" altLang="en-US" sz="1600" dirty="0"/>
              <a:t> </a:t>
            </a:r>
            <a:r>
              <a:rPr lang="de-CH" altLang="en-US" sz="1600" dirty="0" err="1"/>
              <a:t>specific</a:t>
            </a:r>
            <a:r>
              <a:rPr lang="de-CH" altLang="en-US" sz="1600" dirty="0"/>
              <a:t> </a:t>
            </a:r>
            <a:r>
              <a:rPr lang="de-CH" altLang="en-US" sz="1600" dirty="0" err="1"/>
              <a:t>pages</a:t>
            </a:r>
            <a:r>
              <a:rPr lang="de-CH" altLang="en-US" sz="1600" dirty="0"/>
              <a:t> and </a:t>
            </a:r>
            <a:r>
              <a:rPr lang="de-CH" altLang="en-US" sz="1600" dirty="0" err="1"/>
              <a:t>texts</a:t>
            </a:r>
            <a:r>
              <a:rPr lang="de-CH" altLang="en-US" sz="1600" dirty="0"/>
              <a:t> </a:t>
            </a:r>
            <a:r>
              <a:rPr lang="de-CH" altLang="en-US" sz="1600" dirty="0" err="1"/>
              <a:t>from</a:t>
            </a:r>
            <a:r>
              <a:rPr lang="de-CH" altLang="en-US" sz="1600" dirty="0"/>
              <a:t> </a:t>
            </a:r>
            <a:r>
              <a:rPr lang="de-CH" altLang="en-US" sz="1600" dirty="0" err="1"/>
              <a:t>the</a:t>
            </a:r>
            <a:r>
              <a:rPr lang="de-CH" altLang="en-US" sz="1600" dirty="0"/>
              <a:t> System and OEM </a:t>
            </a:r>
            <a:r>
              <a:rPr lang="de-CH" altLang="en-US" sz="1600" dirty="0" err="1"/>
              <a:t>database</a:t>
            </a:r>
            <a:r>
              <a:rPr lang="de-CH" altLang="en-US" sz="1600" dirty="0"/>
              <a:t>.</a:t>
            </a:r>
            <a:endParaRPr lang="de-DE" altLang="en-US" sz="1600" dirty="0"/>
          </a:p>
        </p:txBody>
      </p:sp>
      <p:pic>
        <p:nvPicPr>
          <p:cNvPr id="3" name="Picture 2">
            <a:extLst>
              <a:ext uri="{FF2B5EF4-FFF2-40B4-BE49-F238E27FC236}">
                <a16:creationId xmlns:a16="http://schemas.microsoft.com/office/drawing/2014/main" id="{89CFCF87-2A8A-4E48-81A6-739677FC017E}"/>
              </a:ext>
            </a:extLst>
          </p:cNvPr>
          <p:cNvPicPr>
            <a:picLocks noChangeAspect="1"/>
          </p:cNvPicPr>
          <p:nvPr/>
        </p:nvPicPr>
        <p:blipFill>
          <a:blip r:embed="rId3"/>
          <a:stretch>
            <a:fillRect/>
          </a:stretch>
        </p:blipFill>
        <p:spPr>
          <a:xfrm>
            <a:off x="2272775" y="4338547"/>
            <a:ext cx="9704559" cy="2430658"/>
          </a:xfrm>
          <a:prstGeom prst="rect">
            <a:avLst/>
          </a:prstGeom>
        </p:spPr>
      </p:pic>
      <p:grpSp>
        <p:nvGrpSpPr>
          <p:cNvPr id="5" name="Gruppieren 4">
            <a:extLst>
              <a:ext uri="{FF2B5EF4-FFF2-40B4-BE49-F238E27FC236}">
                <a16:creationId xmlns:a16="http://schemas.microsoft.com/office/drawing/2014/main" id="{A8B36CBB-0C36-4E87-9A37-6D6B2EF0CFFD}"/>
              </a:ext>
            </a:extLst>
          </p:cNvPr>
          <p:cNvGrpSpPr/>
          <p:nvPr/>
        </p:nvGrpSpPr>
        <p:grpSpPr>
          <a:xfrm>
            <a:off x="7423805" y="507587"/>
            <a:ext cx="4476767" cy="1791170"/>
            <a:chOff x="7372333" y="658479"/>
            <a:chExt cx="4750413" cy="2016141"/>
          </a:xfrm>
        </p:grpSpPr>
        <p:pic>
          <p:nvPicPr>
            <p:cNvPr id="2052" name="Picture 4">
              <a:extLst>
                <a:ext uri="{FF2B5EF4-FFF2-40B4-BE49-F238E27FC236}">
                  <a16:creationId xmlns:a16="http://schemas.microsoft.com/office/drawing/2014/main" id="{A8A31189-A362-49D6-9F70-9444227F85B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693" t="-983" r="46648" b="62269"/>
            <a:stretch/>
          </p:blipFill>
          <p:spPr bwMode="auto">
            <a:xfrm>
              <a:off x="7372333" y="658479"/>
              <a:ext cx="4750413" cy="2016141"/>
            </a:xfrm>
            <a:prstGeom prst="rect">
              <a:avLst/>
            </a:prstGeom>
            <a:noFill/>
            <a:extLst>
              <a:ext uri="{909E8E84-426E-40DD-AFC4-6F175D3DCCD1}">
                <a14:hiddenFill xmlns:a14="http://schemas.microsoft.com/office/drawing/2010/main">
                  <a:solidFill>
                    <a:srgbClr val="FFFFFF"/>
                  </a:solidFill>
                </a14:hiddenFill>
              </a:ext>
            </a:extLst>
          </p:spPr>
        </p:pic>
        <p:sp>
          <p:nvSpPr>
            <p:cNvPr id="4" name="Rechteck 3">
              <a:extLst>
                <a:ext uri="{FF2B5EF4-FFF2-40B4-BE49-F238E27FC236}">
                  <a16:creationId xmlns:a16="http://schemas.microsoft.com/office/drawing/2014/main" id="{2DE8FA77-9EA1-4952-ADC5-2BC5437CD872}"/>
                </a:ext>
              </a:extLst>
            </p:cNvPr>
            <p:cNvSpPr/>
            <p:nvPr/>
          </p:nvSpPr>
          <p:spPr bwMode="auto">
            <a:xfrm>
              <a:off x="7602083" y="1005840"/>
              <a:ext cx="1877197" cy="339269"/>
            </a:xfrm>
            <a:prstGeom prst="rect">
              <a:avLst/>
            </a:prstGeom>
            <a:noFill/>
            <a:ln w="38100">
              <a:solidFill>
                <a:srgbClr val="0070C0"/>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grpSp>
      <p:pic>
        <p:nvPicPr>
          <p:cNvPr id="1028" name="Picture 4" descr="image">
            <a:extLst>
              <a:ext uri="{FF2B5EF4-FFF2-40B4-BE49-F238E27FC236}">
                <a16:creationId xmlns:a16="http://schemas.microsoft.com/office/drawing/2014/main" id="{FE147D65-BF40-4EFF-9C60-C4E28755140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 r="43076" b="58606"/>
          <a:stretch/>
        </p:blipFill>
        <p:spPr bwMode="auto">
          <a:xfrm>
            <a:off x="7423805" y="2381630"/>
            <a:ext cx="4630222" cy="2050670"/>
          </a:xfrm>
          <a:prstGeom prst="rect">
            <a:avLst/>
          </a:prstGeom>
          <a:noFill/>
          <a:extLst>
            <a:ext uri="{909E8E84-426E-40DD-AFC4-6F175D3DCCD1}">
              <a14:hiddenFill xmlns:a14="http://schemas.microsoft.com/office/drawing/2010/main">
                <a:solidFill>
                  <a:srgbClr val="FFFFFF"/>
                </a:solidFill>
              </a14:hiddenFill>
            </a:ext>
          </a:extLst>
        </p:spPr>
      </p:pic>
      <p:sp>
        <p:nvSpPr>
          <p:cNvPr id="12" name="Rechteck 11">
            <a:extLst>
              <a:ext uri="{FF2B5EF4-FFF2-40B4-BE49-F238E27FC236}">
                <a16:creationId xmlns:a16="http://schemas.microsoft.com/office/drawing/2014/main" id="{F246B7DD-9648-4148-A96C-4786E8E335B0}"/>
              </a:ext>
            </a:extLst>
          </p:cNvPr>
          <p:cNvSpPr/>
          <p:nvPr/>
        </p:nvSpPr>
        <p:spPr bwMode="auto">
          <a:xfrm>
            <a:off x="9570720" y="2733040"/>
            <a:ext cx="2406614" cy="416560"/>
          </a:xfrm>
          <a:prstGeom prst="rect">
            <a:avLst/>
          </a:prstGeom>
          <a:noFill/>
          <a:ln w="57150">
            <a:solidFill>
              <a:srgbClr val="90EEF8"/>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5" name="Textfeld 337">
            <a:extLst>
              <a:ext uri="{FF2B5EF4-FFF2-40B4-BE49-F238E27FC236}">
                <a16:creationId xmlns:a16="http://schemas.microsoft.com/office/drawing/2014/main" id="{BD7E4126-1D5E-4C35-AA9C-3D10BCD1EB51}"/>
              </a:ext>
            </a:extLst>
          </p:cNvPr>
          <p:cNvSpPr txBox="1"/>
          <p:nvPr/>
        </p:nvSpPr>
        <p:spPr>
          <a:xfrm>
            <a:off x="-1" y="5391703"/>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b="0" kern="1200" dirty="0">
                <a:latin typeface="+mj-lt"/>
                <a:ea typeface="+mn-ea"/>
              </a:rPr>
              <a:t>HMI file creation</a:t>
            </a:r>
            <a:endParaRPr lang="en-US" sz="1100" b="0" u="none" strike="noStrike" kern="1200" dirty="0">
              <a:effectLst/>
              <a:latin typeface="+mj-lt"/>
              <a:ea typeface="+mn-ea"/>
            </a:endParaRPr>
          </a:p>
        </p:txBody>
      </p:sp>
    </p:spTree>
    <p:extLst>
      <p:ext uri="{BB962C8B-B14F-4D97-AF65-F5344CB8AC3E}">
        <p14:creationId xmlns:p14="http://schemas.microsoft.com/office/powerpoint/2010/main" val="2176441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xEl>
                                              <p:pRg st="4" end="4"/>
                                            </p:txEl>
                                          </p:spTgt>
                                        </p:tgtEl>
                                        <p:attrNameLst>
                                          <p:attrName>style.visibility</p:attrName>
                                        </p:attrNameLst>
                                      </p:cBhvr>
                                      <p:to>
                                        <p:strVal val="visible"/>
                                      </p:to>
                                    </p:set>
                                    <p:animEffect transition="in" filter="fade">
                                      <p:cBhvr>
                                        <p:cTn id="7" dur="500"/>
                                        <p:tgtEl>
                                          <p:spTgt spid="28">
                                            <p:txEl>
                                              <p:pRg st="4" end="4"/>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dtText Box 4 Id114692">
            <a:extLst>
              <a:ext uri="{FF2B5EF4-FFF2-40B4-BE49-F238E27FC236}">
                <a16:creationId xmlns:a16="http://schemas.microsoft.com/office/drawing/2014/main" id="{78147749-85E7-4110-B55A-DB45D6D85C1A}"/>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Security level concept</a:t>
            </a:r>
          </a:p>
        </p:txBody>
      </p:sp>
      <p:sp>
        <p:nvSpPr>
          <p:cNvPr id="28" name="Rechteck 22">
            <a:extLst>
              <a:ext uri="{FF2B5EF4-FFF2-40B4-BE49-F238E27FC236}">
                <a16:creationId xmlns:a16="http://schemas.microsoft.com/office/drawing/2014/main" id="{0E80F07F-4042-402D-AA78-ED4E6DDDE9C0}"/>
              </a:ext>
            </a:extLst>
          </p:cNvPr>
          <p:cNvSpPr>
            <a:spLocks noChangeArrowheads="1"/>
          </p:cNvSpPr>
          <p:nvPr/>
        </p:nvSpPr>
        <p:spPr bwMode="auto">
          <a:xfrm>
            <a:off x="2283341" y="610505"/>
            <a:ext cx="4968359" cy="5526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en-US" altLang="en-US" sz="1600" dirty="0"/>
              <a:t>Why are security levels needed?</a:t>
            </a:r>
          </a:p>
          <a:p>
            <a:pPr marL="285750" indent="-285750" algn="l" eaLnBrk="1" hangingPunct="1">
              <a:buClr>
                <a:schemeClr val="accent1"/>
              </a:buClr>
              <a:buFont typeface="Arial" panose="020B0604020202020204" pitchFamily="34" charset="0"/>
              <a:buChar char="•"/>
            </a:pPr>
            <a:r>
              <a:rPr lang="en-US" altLang="en-US" sz="1600" dirty="0"/>
              <a:t>Equipment is interacted by people who has different roles in the projects, from factory to site. </a:t>
            </a:r>
          </a:p>
          <a:p>
            <a:pPr marL="285750" indent="-285750" algn="l" eaLnBrk="1" hangingPunct="1">
              <a:buClr>
                <a:schemeClr val="accent1"/>
              </a:buClr>
              <a:buFont typeface="Arial" panose="020B0604020202020204" pitchFamily="34" charset="0"/>
              <a:buChar char="•"/>
            </a:pPr>
            <a:r>
              <a:rPr lang="en-US" altLang="en-US" sz="1600" dirty="0"/>
              <a:t>For certain roles, we need to limit the rights of operating and setting-up the equipment, therefore </a:t>
            </a:r>
            <a:r>
              <a:rPr lang="de-DE" altLang="en-US" sz="1600" dirty="0"/>
              <a:t>5 </a:t>
            </a:r>
            <a:r>
              <a:rPr lang="de-DE" altLang="en-US" sz="1600" dirty="0" err="1"/>
              <a:t>security</a:t>
            </a:r>
            <a:r>
              <a:rPr lang="de-DE" altLang="en-US" sz="1600" dirty="0"/>
              <a:t> </a:t>
            </a:r>
            <a:r>
              <a:rPr lang="de-DE" altLang="en-US" sz="1600" dirty="0" err="1"/>
              <a:t>levels</a:t>
            </a:r>
            <a:r>
              <a:rPr lang="de-DE" altLang="en-US" sz="1600" dirty="0"/>
              <a:t> </a:t>
            </a:r>
            <a:r>
              <a:rPr lang="de-DE" altLang="en-US" sz="1600" dirty="0" err="1"/>
              <a:t>are</a:t>
            </a:r>
            <a:r>
              <a:rPr lang="de-DE" altLang="en-US" sz="1600" dirty="0"/>
              <a:t> </a:t>
            </a:r>
            <a:r>
              <a:rPr lang="de-DE" altLang="en-US" sz="1600" dirty="0" err="1"/>
              <a:t>available</a:t>
            </a:r>
            <a:r>
              <a:rPr lang="de-DE" altLang="en-US" sz="1600" dirty="0"/>
              <a:t>: </a:t>
            </a:r>
          </a:p>
          <a:p>
            <a:pPr marL="441325" lvl="1" indent="-166688" algn="l">
              <a:spcBef>
                <a:spcPts val="300"/>
              </a:spcBef>
              <a:buFont typeface="Arial" panose="020B0604020202020204" pitchFamily="34" charset="0"/>
              <a:buChar char="•"/>
            </a:pPr>
            <a:r>
              <a:rPr lang="de-DE" altLang="en-US" sz="1600" dirty="0" err="1"/>
              <a:t>Full</a:t>
            </a:r>
            <a:r>
              <a:rPr lang="de-DE" altLang="en-US" sz="1600" dirty="0"/>
              <a:t> </a:t>
            </a:r>
            <a:r>
              <a:rPr lang="de-DE" altLang="en-US" sz="1600" dirty="0" err="1"/>
              <a:t>access</a:t>
            </a:r>
            <a:r>
              <a:rPr lang="de-DE" altLang="en-US" sz="1600" dirty="0"/>
              <a:t> (0)</a:t>
            </a:r>
          </a:p>
          <a:p>
            <a:pPr marL="441325" lvl="1" indent="-166688" algn="l">
              <a:spcBef>
                <a:spcPts val="300"/>
              </a:spcBef>
              <a:buFont typeface="Arial" panose="020B0604020202020204" pitchFamily="34" charset="0"/>
              <a:buChar char="•"/>
            </a:pPr>
            <a:r>
              <a:rPr lang="de-DE" altLang="en-US" sz="1600" dirty="0"/>
              <a:t>Factory (2)</a:t>
            </a:r>
          </a:p>
          <a:p>
            <a:pPr marL="441325" lvl="1" indent="-166688" algn="l">
              <a:spcBef>
                <a:spcPts val="300"/>
              </a:spcBef>
              <a:buFont typeface="Arial" panose="020B0604020202020204" pitchFamily="34" charset="0"/>
              <a:buChar char="•"/>
            </a:pPr>
            <a:r>
              <a:rPr lang="de-DE" altLang="en-US" sz="1600" dirty="0"/>
              <a:t>Service (4)</a:t>
            </a:r>
          </a:p>
          <a:p>
            <a:pPr marL="441325" lvl="1" indent="-166688" algn="l">
              <a:spcBef>
                <a:spcPts val="300"/>
              </a:spcBef>
              <a:buFont typeface="Arial" panose="020B0604020202020204" pitchFamily="34" charset="0"/>
              <a:buChar char="•"/>
            </a:pPr>
            <a:r>
              <a:rPr lang="de-DE" altLang="en-US" sz="1600" dirty="0"/>
              <a:t>User (6)</a:t>
            </a:r>
          </a:p>
          <a:p>
            <a:pPr marL="441325" lvl="1" indent="-166688" algn="l">
              <a:spcBef>
                <a:spcPts val="300"/>
              </a:spcBef>
              <a:buFont typeface="Arial" panose="020B0604020202020204" pitchFamily="34" charset="0"/>
              <a:buChar char="•"/>
            </a:pPr>
            <a:r>
              <a:rPr lang="de-DE" altLang="en-US" sz="1600" dirty="0"/>
              <a:t>End </a:t>
            </a:r>
            <a:r>
              <a:rPr lang="de-DE" altLang="en-US" sz="1600" dirty="0" err="1"/>
              <a:t>user</a:t>
            </a:r>
            <a:r>
              <a:rPr lang="de-DE" altLang="en-US" sz="1600" dirty="0"/>
              <a:t> (253)</a:t>
            </a:r>
            <a:br>
              <a:rPr lang="de-DE" altLang="en-US" sz="1600" dirty="0"/>
            </a:br>
            <a:endParaRPr lang="de-DE" altLang="en-US" sz="1600" dirty="0"/>
          </a:p>
          <a:p>
            <a:pPr marL="285750" indent="-285750" algn="l">
              <a:lnSpc>
                <a:spcPct val="120000"/>
              </a:lnSpc>
              <a:spcBef>
                <a:spcPts val="0"/>
              </a:spcBef>
              <a:buClr>
                <a:schemeClr val="accent1"/>
              </a:buClr>
              <a:buFont typeface="Arial" panose="020B0604020202020204" pitchFamily="34" charset="0"/>
              <a:buChar char="•"/>
            </a:pPr>
            <a:r>
              <a:rPr lang="en-US" altLang="en-US" sz="1600" dirty="0"/>
              <a:t>In </a:t>
            </a:r>
            <a:r>
              <a:rPr lang="en-US" altLang="en-US" sz="1600" b="1" dirty="0"/>
              <a:t>Scope</a:t>
            </a:r>
            <a:r>
              <a:rPr lang="en-US" altLang="en-US" sz="1600" dirty="0"/>
              <a:t> the security level is set while connecting to Climatix controller. When connecting with «Full access» you will see all available automation object members. All other user roles will only see the automation object members according to their rights.</a:t>
            </a:r>
            <a:endParaRPr lang="de-DE" altLang="en-US" sz="1600" dirty="0"/>
          </a:p>
        </p:txBody>
      </p:sp>
      <p:sp>
        <p:nvSpPr>
          <p:cNvPr id="41" name="Rectangle 40">
            <a:extLst>
              <a:ext uri="{FF2B5EF4-FFF2-40B4-BE49-F238E27FC236}">
                <a16:creationId xmlns:a16="http://schemas.microsoft.com/office/drawing/2014/main" id="{0CC0719C-31DF-4696-B647-8BA2C1A73E32}"/>
              </a:ext>
            </a:extLst>
          </p:cNvPr>
          <p:cNvSpPr/>
          <p:nvPr/>
        </p:nvSpPr>
        <p:spPr bwMode="auto">
          <a:xfrm>
            <a:off x="9058039" y="3279334"/>
            <a:ext cx="2577947" cy="1729648"/>
          </a:xfrm>
          <a:prstGeom prst="rect">
            <a:avLst/>
          </a:prstGeom>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36000" bIns="54000" numCol="1" spcCol="72000" rtlCol="0" anchor="ctr">
            <a:noAutofit/>
          </a:bodyPr>
          <a:lstStyle/>
          <a:p>
            <a:pPr algn="l">
              <a:lnSpc>
                <a:spcPct val="110000"/>
              </a:lnSpc>
              <a:spcBef>
                <a:spcPct val="0"/>
              </a:spcBef>
            </a:pPr>
            <a:r>
              <a:rPr lang="de-CH" dirty="0" err="1">
                <a:solidFill>
                  <a:schemeClr val="bg1"/>
                </a:solidFill>
              </a:rPr>
              <a:t>Results</a:t>
            </a:r>
            <a:r>
              <a:rPr lang="de-CH" dirty="0">
                <a:solidFill>
                  <a:schemeClr val="bg1"/>
                </a:solidFill>
              </a:rPr>
              <a:t> </a:t>
            </a:r>
            <a:r>
              <a:rPr lang="de-CH" dirty="0" err="1">
                <a:solidFill>
                  <a:schemeClr val="bg1"/>
                </a:solidFill>
              </a:rPr>
              <a:t>of</a:t>
            </a:r>
            <a:r>
              <a:rPr lang="de-CH" dirty="0">
                <a:solidFill>
                  <a:schemeClr val="bg1"/>
                </a:solidFill>
              </a:rPr>
              <a:t> </a:t>
            </a:r>
            <a:r>
              <a:rPr lang="de-CH" dirty="0" err="1">
                <a:solidFill>
                  <a:schemeClr val="bg1"/>
                </a:solidFill>
              </a:rPr>
              <a:t>logging</a:t>
            </a:r>
            <a:r>
              <a:rPr lang="de-CH" dirty="0">
                <a:solidFill>
                  <a:schemeClr val="bg1"/>
                </a:solidFill>
              </a:rPr>
              <a:t> in </a:t>
            </a:r>
            <a:r>
              <a:rPr lang="de-CH" dirty="0" err="1">
                <a:solidFill>
                  <a:schemeClr val="bg1"/>
                </a:solidFill>
              </a:rPr>
              <a:t>with</a:t>
            </a:r>
            <a:r>
              <a:rPr lang="de-CH" dirty="0">
                <a:solidFill>
                  <a:schemeClr val="bg1"/>
                </a:solidFill>
              </a:rPr>
              <a:t> User </a:t>
            </a:r>
            <a:r>
              <a:rPr lang="de-CH" dirty="0" err="1">
                <a:solidFill>
                  <a:schemeClr val="bg1"/>
                </a:solidFill>
              </a:rPr>
              <a:t>access</a:t>
            </a:r>
            <a:r>
              <a:rPr lang="de-CH" dirty="0">
                <a:solidFill>
                  <a:schemeClr val="bg1"/>
                </a:solidFill>
              </a:rPr>
              <a:t> (?)</a:t>
            </a:r>
          </a:p>
        </p:txBody>
      </p:sp>
      <p:sp>
        <p:nvSpPr>
          <p:cNvPr id="13" name="Rechteck 22">
            <a:extLst>
              <a:ext uri="{FF2B5EF4-FFF2-40B4-BE49-F238E27FC236}">
                <a16:creationId xmlns:a16="http://schemas.microsoft.com/office/drawing/2014/main" id="{21F58B57-5072-479A-89C9-A0A0D07B3A40}"/>
              </a:ext>
            </a:extLst>
          </p:cNvPr>
          <p:cNvSpPr>
            <a:spLocks noChangeArrowheads="1"/>
          </p:cNvSpPr>
          <p:nvPr/>
        </p:nvSpPr>
        <p:spPr bwMode="auto">
          <a:xfrm>
            <a:off x="7375041" y="2677606"/>
            <a:ext cx="3170061" cy="34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solidFill>
                  <a:schemeClr val="accent5"/>
                </a:solidFill>
              </a:rPr>
              <a:t>Log in </a:t>
            </a:r>
            <a:r>
              <a:rPr lang="de-CH" altLang="en-US" sz="1600" dirty="0" err="1">
                <a:solidFill>
                  <a:schemeClr val="accent5"/>
                </a:solidFill>
              </a:rPr>
              <a:t>with</a:t>
            </a:r>
            <a:r>
              <a:rPr lang="de-CH" altLang="en-US" sz="1600" dirty="0">
                <a:solidFill>
                  <a:schemeClr val="accent5"/>
                </a:solidFill>
              </a:rPr>
              <a:t> </a:t>
            </a:r>
            <a:r>
              <a:rPr lang="de-CH" altLang="en-US" sz="1600" b="1" dirty="0" err="1">
                <a:solidFill>
                  <a:schemeClr val="accent5"/>
                </a:solidFill>
              </a:rPr>
              <a:t>full</a:t>
            </a:r>
            <a:r>
              <a:rPr lang="de-CH" altLang="en-US" sz="1600" b="1" dirty="0">
                <a:solidFill>
                  <a:schemeClr val="accent5"/>
                </a:solidFill>
              </a:rPr>
              <a:t> </a:t>
            </a:r>
            <a:r>
              <a:rPr lang="de-CH" altLang="en-US" sz="1600" b="1" dirty="0" err="1">
                <a:solidFill>
                  <a:schemeClr val="accent5"/>
                </a:solidFill>
              </a:rPr>
              <a:t>access</a:t>
            </a:r>
            <a:r>
              <a:rPr lang="de-CH" altLang="en-US" sz="1600" b="1" dirty="0">
                <a:solidFill>
                  <a:schemeClr val="accent5"/>
                </a:solidFill>
              </a:rPr>
              <a:t> (0)</a:t>
            </a:r>
            <a:endParaRPr lang="de-DE" altLang="en-US" sz="1600" b="1" dirty="0">
              <a:solidFill>
                <a:schemeClr val="accent5"/>
              </a:solidFill>
            </a:endParaRPr>
          </a:p>
        </p:txBody>
      </p:sp>
      <p:sp>
        <p:nvSpPr>
          <p:cNvPr id="14" name="Rechteck 22">
            <a:extLst>
              <a:ext uri="{FF2B5EF4-FFF2-40B4-BE49-F238E27FC236}">
                <a16:creationId xmlns:a16="http://schemas.microsoft.com/office/drawing/2014/main" id="{EB828C9E-25E3-4F0D-8498-57D193854036}"/>
              </a:ext>
            </a:extLst>
          </p:cNvPr>
          <p:cNvSpPr>
            <a:spLocks noChangeArrowheads="1"/>
          </p:cNvSpPr>
          <p:nvPr/>
        </p:nvSpPr>
        <p:spPr bwMode="auto">
          <a:xfrm>
            <a:off x="7375041" y="5414237"/>
            <a:ext cx="3170061" cy="34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algn="l" eaLnBrk="1" hangingPunct="1">
              <a:buClr>
                <a:schemeClr val="accent1"/>
              </a:buClr>
            </a:pPr>
            <a:r>
              <a:rPr lang="de-CH" altLang="en-US" sz="1600" dirty="0">
                <a:solidFill>
                  <a:schemeClr val="accent5"/>
                </a:solidFill>
              </a:rPr>
              <a:t>Log in </a:t>
            </a:r>
            <a:r>
              <a:rPr lang="de-CH" altLang="en-US" sz="1600" dirty="0" err="1">
                <a:solidFill>
                  <a:schemeClr val="accent5"/>
                </a:solidFill>
              </a:rPr>
              <a:t>with</a:t>
            </a:r>
            <a:r>
              <a:rPr lang="de-CH" altLang="en-US" sz="1600" dirty="0">
                <a:solidFill>
                  <a:schemeClr val="accent5"/>
                </a:solidFill>
              </a:rPr>
              <a:t> end </a:t>
            </a:r>
            <a:r>
              <a:rPr lang="de-CH" altLang="en-US" sz="1600" b="1" dirty="0" err="1">
                <a:solidFill>
                  <a:schemeClr val="accent5"/>
                </a:solidFill>
              </a:rPr>
              <a:t>user</a:t>
            </a:r>
            <a:r>
              <a:rPr lang="de-CH" altLang="en-US" sz="1600" b="1" dirty="0">
                <a:solidFill>
                  <a:schemeClr val="accent5"/>
                </a:solidFill>
              </a:rPr>
              <a:t> </a:t>
            </a:r>
            <a:r>
              <a:rPr lang="de-CH" altLang="en-US" sz="1600" b="1" dirty="0" err="1">
                <a:solidFill>
                  <a:schemeClr val="accent5"/>
                </a:solidFill>
              </a:rPr>
              <a:t>access</a:t>
            </a:r>
            <a:r>
              <a:rPr lang="de-CH" altLang="en-US" sz="1600" b="1" dirty="0">
                <a:solidFill>
                  <a:schemeClr val="accent5"/>
                </a:solidFill>
              </a:rPr>
              <a:t> (6)</a:t>
            </a:r>
            <a:endParaRPr lang="de-DE" altLang="en-US" sz="1600" b="1" dirty="0">
              <a:solidFill>
                <a:schemeClr val="accent5"/>
              </a:solidFill>
            </a:endParaRPr>
          </a:p>
        </p:txBody>
      </p:sp>
      <p:sp>
        <p:nvSpPr>
          <p:cNvPr id="9" name="Textfeld 337">
            <a:extLst>
              <a:ext uri="{FF2B5EF4-FFF2-40B4-BE49-F238E27FC236}">
                <a16:creationId xmlns:a16="http://schemas.microsoft.com/office/drawing/2014/main" id="{903F8F5A-2E43-4EF8-97E7-18318B4F2A87}"/>
              </a:ext>
            </a:extLst>
          </p:cNvPr>
          <p:cNvSpPr txBox="1"/>
          <p:nvPr/>
        </p:nvSpPr>
        <p:spPr>
          <a:xfrm>
            <a:off x="-1" y="5630044"/>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b="0" kern="1200" dirty="0">
                <a:latin typeface="+mj-lt"/>
                <a:ea typeface="+mn-ea"/>
              </a:rPr>
              <a:t>Security concept</a:t>
            </a:r>
            <a:endParaRPr lang="en-US" sz="1100" b="0" u="none" strike="noStrike" kern="1200" dirty="0">
              <a:effectLst/>
              <a:latin typeface="+mj-lt"/>
              <a:ea typeface="+mn-ea"/>
            </a:endParaRPr>
          </a:p>
        </p:txBody>
      </p:sp>
      <p:pic>
        <p:nvPicPr>
          <p:cNvPr id="3" name="Grafik 2">
            <a:extLst>
              <a:ext uri="{FF2B5EF4-FFF2-40B4-BE49-F238E27FC236}">
                <a16:creationId xmlns:a16="http://schemas.microsoft.com/office/drawing/2014/main" id="{470A0EBB-B900-43C6-A3FE-D023D806B0BA}"/>
              </a:ext>
            </a:extLst>
          </p:cNvPr>
          <p:cNvPicPr>
            <a:picLocks noChangeAspect="1"/>
          </p:cNvPicPr>
          <p:nvPr/>
        </p:nvPicPr>
        <p:blipFill>
          <a:blip r:embed="rId3"/>
          <a:stretch>
            <a:fillRect/>
          </a:stretch>
        </p:blipFill>
        <p:spPr>
          <a:xfrm>
            <a:off x="7375042" y="601132"/>
            <a:ext cx="4446203" cy="2081747"/>
          </a:xfrm>
          <a:prstGeom prst="rect">
            <a:avLst/>
          </a:prstGeom>
        </p:spPr>
      </p:pic>
      <p:pic>
        <p:nvPicPr>
          <p:cNvPr id="5" name="Grafik 4">
            <a:extLst>
              <a:ext uri="{FF2B5EF4-FFF2-40B4-BE49-F238E27FC236}">
                <a16:creationId xmlns:a16="http://schemas.microsoft.com/office/drawing/2014/main" id="{0C8D1B51-1F73-4C24-9898-B06E791850BF}"/>
              </a:ext>
            </a:extLst>
          </p:cNvPr>
          <p:cNvPicPr>
            <a:picLocks noChangeAspect="1"/>
          </p:cNvPicPr>
          <p:nvPr/>
        </p:nvPicPr>
        <p:blipFill>
          <a:blip r:embed="rId4"/>
          <a:stretch>
            <a:fillRect/>
          </a:stretch>
        </p:blipFill>
        <p:spPr>
          <a:xfrm>
            <a:off x="7375042" y="3255940"/>
            <a:ext cx="4446203" cy="2160303"/>
          </a:xfrm>
          <a:prstGeom prst="rect">
            <a:avLst/>
          </a:prstGeom>
        </p:spPr>
      </p:pic>
      <p:sp>
        <p:nvSpPr>
          <p:cNvPr id="15" name="Rechteck: abgerundete Ecken 14">
            <a:extLst>
              <a:ext uri="{FF2B5EF4-FFF2-40B4-BE49-F238E27FC236}">
                <a16:creationId xmlns:a16="http://schemas.microsoft.com/office/drawing/2014/main" id="{875DCFA8-2175-4637-8083-B9CD9B631649}"/>
              </a:ext>
            </a:extLst>
          </p:cNvPr>
          <p:cNvSpPr/>
          <p:nvPr/>
        </p:nvSpPr>
        <p:spPr bwMode="auto">
          <a:xfrm>
            <a:off x="7375041" y="2104545"/>
            <a:ext cx="4446203" cy="488582"/>
          </a:xfrm>
          <a:prstGeom prst="roundRect">
            <a:avLst/>
          </a:prstGeom>
          <a:noFill/>
          <a:ln w="114300">
            <a:solidFill>
              <a:srgbClr val="90EEF8"/>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6" name="Rechteck: abgerundete Ecken 15">
            <a:extLst>
              <a:ext uri="{FF2B5EF4-FFF2-40B4-BE49-F238E27FC236}">
                <a16:creationId xmlns:a16="http://schemas.microsoft.com/office/drawing/2014/main" id="{B1486AFC-B396-4114-B34D-47F417B91E10}"/>
              </a:ext>
            </a:extLst>
          </p:cNvPr>
          <p:cNvSpPr/>
          <p:nvPr/>
        </p:nvSpPr>
        <p:spPr bwMode="auto">
          <a:xfrm>
            <a:off x="7375041" y="4841176"/>
            <a:ext cx="4446203" cy="488582"/>
          </a:xfrm>
          <a:prstGeom prst="roundRect">
            <a:avLst/>
          </a:prstGeom>
          <a:noFill/>
          <a:ln w="114300">
            <a:solidFill>
              <a:srgbClr val="90EEF8"/>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Tree>
    <p:extLst>
      <p:ext uri="{BB962C8B-B14F-4D97-AF65-F5344CB8AC3E}">
        <p14:creationId xmlns:p14="http://schemas.microsoft.com/office/powerpoint/2010/main" val="370757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xEl>
                                              <p:pRg st="8" end="8"/>
                                            </p:txEl>
                                          </p:spTgt>
                                        </p:tgtEl>
                                        <p:attrNameLst>
                                          <p:attrName>style.visibility</p:attrName>
                                        </p:attrNameLst>
                                      </p:cBhvr>
                                      <p:to>
                                        <p:strVal val="visible"/>
                                      </p:to>
                                    </p:set>
                                    <p:animEffect transition="in" filter="fade">
                                      <p:cBhvr>
                                        <p:cTn id="7" dur="500"/>
                                        <p:tgtEl>
                                          <p:spTgt spid="28">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18E70659-7E01-41C3-BCCB-FFCF0BD85C6A}"/>
              </a:ext>
            </a:extLst>
          </p:cNvPr>
          <p:cNvGrpSpPr/>
          <p:nvPr/>
        </p:nvGrpSpPr>
        <p:grpSpPr>
          <a:xfrm>
            <a:off x="2167618" y="469085"/>
            <a:ext cx="5835013" cy="6380340"/>
            <a:chOff x="2167619" y="469084"/>
            <a:chExt cx="5863198" cy="6411159"/>
          </a:xfrm>
        </p:grpSpPr>
        <p:pic>
          <p:nvPicPr>
            <p:cNvPr id="5" name="Grafik 4">
              <a:extLst>
                <a:ext uri="{FF2B5EF4-FFF2-40B4-BE49-F238E27FC236}">
                  <a16:creationId xmlns:a16="http://schemas.microsoft.com/office/drawing/2014/main" id="{C42982FC-B81C-4034-8844-9D9539BE385E}"/>
                </a:ext>
              </a:extLst>
            </p:cNvPr>
            <p:cNvPicPr>
              <a:picLocks noChangeAspect="1"/>
            </p:cNvPicPr>
            <p:nvPr/>
          </p:nvPicPr>
          <p:blipFill>
            <a:blip r:embed="rId3"/>
            <a:stretch>
              <a:fillRect/>
            </a:stretch>
          </p:blipFill>
          <p:spPr>
            <a:xfrm>
              <a:off x="2167619" y="469084"/>
              <a:ext cx="5863198" cy="6411159"/>
            </a:xfrm>
            <a:prstGeom prst="rect">
              <a:avLst/>
            </a:prstGeom>
          </p:spPr>
        </p:pic>
        <p:pic>
          <p:nvPicPr>
            <p:cNvPr id="12" name="Picture 2">
              <a:extLst>
                <a:ext uri="{FF2B5EF4-FFF2-40B4-BE49-F238E27FC236}">
                  <a16:creationId xmlns:a16="http://schemas.microsoft.com/office/drawing/2014/main" id="{37F8A821-EF53-4042-8F2B-10502A898F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48860" y="4761497"/>
              <a:ext cx="2279011" cy="1778673"/>
            </a:xfrm>
            <a:prstGeom prst="rect">
              <a:avLst/>
            </a:prstGeom>
            <a:noFill/>
            <a:extLst>
              <a:ext uri="{909E8E84-426E-40DD-AFC4-6F175D3DCCD1}">
                <a14:hiddenFill xmlns:a14="http://schemas.microsoft.com/office/drawing/2010/main">
                  <a:solidFill>
                    <a:srgbClr val="FFFFFF"/>
                  </a:solidFill>
                </a14:hiddenFill>
              </a:ext>
            </a:extLst>
          </p:spPr>
        </p:pic>
        <p:sp>
          <p:nvSpPr>
            <p:cNvPr id="6" name="Trapezoid 5">
              <a:extLst>
                <a:ext uri="{FF2B5EF4-FFF2-40B4-BE49-F238E27FC236}">
                  <a16:creationId xmlns:a16="http://schemas.microsoft.com/office/drawing/2014/main" id="{ACFE5366-A421-4449-A79D-356CF320F495}"/>
                </a:ext>
              </a:extLst>
            </p:cNvPr>
            <p:cNvSpPr/>
            <p:nvPr/>
          </p:nvSpPr>
          <p:spPr bwMode="auto">
            <a:xfrm rot="5400000" flipV="1">
              <a:off x="5709658" y="5316978"/>
              <a:ext cx="590658" cy="1073244"/>
            </a:xfrm>
            <a:prstGeom prst="trapezoid">
              <a:avLst/>
            </a:prstGeom>
            <a:solidFill>
              <a:srgbClr val="C0BFC0"/>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grpSp>
      <p:sp>
        <p:nvSpPr>
          <p:cNvPr id="11" name="cdtText Box 4 Id114692">
            <a:extLst>
              <a:ext uri="{FF2B5EF4-FFF2-40B4-BE49-F238E27FC236}">
                <a16:creationId xmlns:a16="http://schemas.microsoft.com/office/drawing/2014/main" id="{78147749-85E7-4110-B55A-DB45D6D85C1A}"/>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Security level settings</a:t>
            </a:r>
          </a:p>
        </p:txBody>
      </p:sp>
      <p:sp>
        <p:nvSpPr>
          <p:cNvPr id="28" name="Rechteck 22">
            <a:extLst>
              <a:ext uri="{FF2B5EF4-FFF2-40B4-BE49-F238E27FC236}">
                <a16:creationId xmlns:a16="http://schemas.microsoft.com/office/drawing/2014/main" id="{0E80F07F-4042-402D-AA78-ED4E6DDDE9C0}"/>
              </a:ext>
            </a:extLst>
          </p:cNvPr>
          <p:cNvSpPr>
            <a:spLocks noChangeArrowheads="1"/>
          </p:cNvSpPr>
          <p:nvPr/>
        </p:nvSpPr>
        <p:spPr bwMode="auto">
          <a:xfrm>
            <a:off x="8125427" y="612771"/>
            <a:ext cx="4069747" cy="1548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110000"/>
              </a:lnSpc>
              <a:buFont typeface="Wingdings" panose="05000000000000000000" pitchFamily="2" charset="2"/>
              <a:defRPr>
                <a:solidFill>
                  <a:schemeClr val="tx1"/>
                </a:solidFill>
                <a:latin typeface="Arial" panose="020B0604020202020204" pitchFamily="34" charset="0"/>
              </a:defRPr>
            </a:lvl1pPr>
            <a:lvl2pPr marL="742950" indent="-28575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2pPr>
            <a:lvl3pPr marL="11430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3pPr>
            <a:lvl4pPr marL="16002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4pPr>
            <a:lvl5pPr marL="2057400" indent="-228600">
              <a:lnSpc>
                <a:spcPct val="110000"/>
              </a:lnSpc>
              <a:buClr>
                <a:schemeClr val="accent1"/>
              </a:buClr>
              <a:buFont typeface="Wingdings" panose="05000000000000000000" pitchFamily="2" charset="2"/>
              <a:buChar char="§"/>
              <a:defRPr>
                <a:solidFill>
                  <a:schemeClr val="tx1"/>
                </a:solidFill>
                <a:latin typeface="Arial" panose="020B0604020202020204" pitchFamily="34" charset="0"/>
              </a:defRPr>
            </a:lvl5pPr>
            <a:lvl6pPr marL="25146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6pPr>
            <a:lvl7pPr marL="29718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7pPr>
            <a:lvl8pPr marL="34290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8pPr>
            <a:lvl9pPr marL="3886200" indent="-228600" eaLnBrk="0" fontAlgn="base" hangingPunct="0">
              <a:lnSpc>
                <a:spcPct val="110000"/>
              </a:lnSpc>
              <a:spcBef>
                <a:spcPct val="0"/>
              </a:spcBef>
              <a:spcAft>
                <a:spcPct val="0"/>
              </a:spcAft>
              <a:buClr>
                <a:schemeClr val="accent1"/>
              </a:buClr>
              <a:buFont typeface="Wingdings" panose="05000000000000000000" pitchFamily="2" charset="2"/>
              <a:buChar char="§"/>
              <a:defRPr>
                <a:solidFill>
                  <a:schemeClr val="tx1"/>
                </a:solidFill>
                <a:latin typeface="Arial" panose="020B0604020202020204" pitchFamily="34" charset="0"/>
              </a:defRPr>
            </a:lvl9pPr>
          </a:lstStyle>
          <a:p>
            <a:pPr marL="285750" indent="-285750" algn="l">
              <a:buClr>
                <a:schemeClr val="accent1"/>
              </a:buClr>
              <a:buFont typeface="Arial" panose="020B0604020202020204" pitchFamily="34" charset="0"/>
              <a:buChar char="•"/>
            </a:pPr>
            <a:r>
              <a:rPr lang="de-DE" altLang="en-US" sz="1600" dirty="0"/>
              <a:t>In SAPRO, </a:t>
            </a:r>
            <a:r>
              <a:rPr lang="de-DE" altLang="en-US" sz="1600" dirty="0" err="1"/>
              <a:t>the</a:t>
            </a:r>
            <a:r>
              <a:rPr lang="de-DE" altLang="en-US" sz="1600" dirty="0"/>
              <a:t> </a:t>
            </a:r>
            <a:r>
              <a:rPr lang="de-DE" altLang="en-US" sz="1600" dirty="0" err="1"/>
              <a:t>user</a:t>
            </a:r>
            <a:r>
              <a:rPr lang="de-DE" altLang="en-US" sz="1600" dirty="0"/>
              <a:t> </a:t>
            </a:r>
            <a:r>
              <a:rPr lang="de-DE" altLang="en-US" sz="1600" dirty="0" err="1"/>
              <a:t>roles</a:t>
            </a:r>
            <a:r>
              <a:rPr lang="de-DE" altLang="en-US" sz="1600" dirty="0"/>
              <a:t> and </a:t>
            </a:r>
            <a:r>
              <a:rPr lang="de-DE" altLang="en-US" sz="1600" dirty="0" err="1"/>
              <a:t>default</a:t>
            </a:r>
            <a:r>
              <a:rPr lang="de-DE" altLang="en-US" sz="1600" dirty="0"/>
              <a:t> </a:t>
            </a:r>
            <a:r>
              <a:rPr lang="de-DE" altLang="en-US" sz="1600" dirty="0" err="1"/>
              <a:t>passwords</a:t>
            </a:r>
            <a:r>
              <a:rPr lang="de-DE" altLang="en-US" sz="1600" dirty="0"/>
              <a:t> </a:t>
            </a:r>
            <a:r>
              <a:rPr lang="de-DE" altLang="en-US" sz="1600" dirty="0" err="1"/>
              <a:t>are</a:t>
            </a:r>
            <a:r>
              <a:rPr lang="de-DE" altLang="en-US" sz="1600" dirty="0"/>
              <a:t> </a:t>
            </a:r>
            <a:r>
              <a:rPr lang="de-DE" altLang="en-US" sz="1600" dirty="0" err="1"/>
              <a:t>predefined</a:t>
            </a:r>
            <a:r>
              <a:rPr lang="de-DE" altLang="en-US" sz="1600" dirty="0"/>
              <a:t>. </a:t>
            </a:r>
          </a:p>
          <a:p>
            <a:pPr marL="285750" indent="-285750" algn="l">
              <a:buClr>
                <a:schemeClr val="accent1"/>
              </a:buClr>
              <a:buFont typeface="Arial" panose="020B0604020202020204" pitchFamily="34" charset="0"/>
              <a:buChar char="•"/>
            </a:pPr>
            <a:r>
              <a:rPr lang="de-DE" altLang="en-US" sz="1600" dirty="0"/>
              <a:t>In SCOPE </a:t>
            </a:r>
            <a:r>
              <a:rPr lang="de-DE" altLang="en-US" sz="1600" dirty="0" err="1"/>
              <a:t>watch</a:t>
            </a:r>
            <a:r>
              <a:rPr lang="de-DE" altLang="en-US" sz="1600" dirty="0"/>
              <a:t> </a:t>
            </a:r>
            <a:r>
              <a:rPr lang="de-DE" altLang="en-US" sz="1600" dirty="0" err="1"/>
              <a:t>page</a:t>
            </a:r>
            <a:r>
              <a:rPr lang="de-DE" altLang="en-US" sz="1600" dirty="0"/>
              <a:t> </a:t>
            </a:r>
            <a:r>
              <a:rPr lang="de-DE" altLang="en-US" sz="1600" dirty="0" err="1"/>
              <a:t>properties</a:t>
            </a:r>
            <a:r>
              <a:rPr lang="de-DE" altLang="en-US" sz="1600" dirty="0"/>
              <a:t>, </a:t>
            </a:r>
            <a:r>
              <a:rPr lang="de-DE" altLang="en-US" sz="1600" dirty="0" err="1"/>
              <a:t>the</a:t>
            </a:r>
            <a:br>
              <a:rPr lang="de-DE" altLang="en-US" sz="1600" dirty="0"/>
            </a:br>
            <a:r>
              <a:rPr lang="de-DE" altLang="en-US" sz="1600" dirty="0" err="1"/>
              <a:t>page</a:t>
            </a:r>
            <a:r>
              <a:rPr lang="de-DE" altLang="en-US" sz="1600" dirty="0"/>
              <a:t> and </a:t>
            </a:r>
            <a:r>
              <a:rPr lang="de-DE" altLang="en-US" sz="1600" dirty="0" err="1"/>
              <a:t>object</a:t>
            </a:r>
            <a:r>
              <a:rPr lang="de-DE" altLang="en-US" sz="1600" dirty="0"/>
              <a:t> </a:t>
            </a:r>
            <a:r>
              <a:rPr lang="de-DE" altLang="en-US" sz="1600" dirty="0" err="1"/>
              <a:t>member</a:t>
            </a:r>
            <a:r>
              <a:rPr lang="de-DE" altLang="en-US" sz="1600" dirty="0"/>
              <a:t> </a:t>
            </a:r>
            <a:r>
              <a:rPr lang="de-DE" altLang="en-US" sz="1600" dirty="0" err="1"/>
              <a:t>access</a:t>
            </a:r>
            <a:r>
              <a:rPr lang="de-DE" altLang="en-US" sz="1600" dirty="0"/>
              <a:t> (</a:t>
            </a:r>
            <a:r>
              <a:rPr lang="de-DE" altLang="en-US" sz="1600" dirty="0" err="1"/>
              <a:t>read</a:t>
            </a:r>
            <a:r>
              <a:rPr lang="de-DE" altLang="en-US" sz="1600" dirty="0"/>
              <a:t>/</a:t>
            </a:r>
            <a:r>
              <a:rPr lang="de-DE" altLang="en-US" sz="1600" dirty="0" err="1"/>
              <a:t>write</a:t>
            </a:r>
            <a:r>
              <a:rPr lang="de-DE" altLang="en-US" sz="1600" dirty="0"/>
              <a:t>) </a:t>
            </a:r>
            <a:r>
              <a:rPr lang="de-DE" altLang="en-US" sz="1600" dirty="0" err="1"/>
              <a:t>can</a:t>
            </a:r>
            <a:r>
              <a:rPr lang="de-DE" altLang="en-US" sz="1600" dirty="0"/>
              <a:t> </a:t>
            </a:r>
            <a:r>
              <a:rPr lang="de-DE" altLang="en-US" sz="1600" dirty="0" err="1"/>
              <a:t>be</a:t>
            </a:r>
            <a:r>
              <a:rPr lang="de-DE" altLang="en-US" sz="1600" dirty="0"/>
              <a:t> </a:t>
            </a:r>
            <a:r>
              <a:rPr lang="de-DE" altLang="en-US" sz="1600" dirty="0" err="1"/>
              <a:t>assigned</a:t>
            </a:r>
            <a:r>
              <a:rPr lang="de-DE" altLang="en-US" sz="1600" dirty="0"/>
              <a:t>.</a:t>
            </a:r>
          </a:p>
        </p:txBody>
      </p:sp>
      <p:sp>
        <p:nvSpPr>
          <p:cNvPr id="13" name="Rechteck 12">
            <a:extLst>
              <a:ext uri="{FF2B5EF4-FFF2-40B4-BE49-F238E27FC236}">
                <a16:creationId xmlns:a16="http://schemas.microsoft.com/office/drawing/2014/main" id="{9EC16153-052D-42B5-9FD3-40F27A8E5BC0}"/>
              </a:ext>
            </a:extLst>
          </p:cNvPr>
          <p:cNvSpPr/>
          <p:nvPr/>
        </p:nvSpPr>
        <p:spPr bwMode="auto">
          <a:xfrm>
            <a:off x="2587166" y="1990652"/>
            <a:ext cx="563897" cy="254835"/>
          </a:xfrm>
          <a:prstGeom prst="rect">
            <a:avLst/>
          </a:prstGeom>
          <a:noFill/>
          <a:ln w="38100">
            <a:solidFill>
              <a:schemeClr val="accent5"/>
            </a:solidFill>
            <a:miter lim="800000"/>
            <a:headEnd/>
            <a:tailEnd/>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pic>
        <p:nvPicPr>
          <p:cNvPr id="14" name="Grafik 13">
            <a:extLst>
              <a:ext uri="{FF2B5EF4-FFF2-40B4-BE49-F238E27FC236}">
                <a16:creationId xmlns:a16="http://schemas.microsoft.com/office/drawing/2014/main" id="{71E1DC6D-10EA-4C13-B376-1100D2FE0341}"/>
              </a:ext>
            </a:extLst>
          </p:cNvPr>
          <p:cNvPicPr>
            <a:picLocks noChangeAspect="1"/>
          </p:cNvPicPr>
          <p:nvPr/>
        </p:nvPicPr>
        <p:blipFill>
          <a:blip r:embed="rId5"/>
          <a:stretch>
            <a:fillRect/>
          </a:stretch>
        </p:blipFill>
        <p:spPr>
          <a:xfrm>
            <a:off x="8541369" y="2186902"/>
            <a:ext cx="2258435" cy="4800129"/>
          </a:xfrm>
          <a:prstGeom prst="rect">
            <a:avLst/>
          </a:prstGeom>
        </p:spPr>
      </p:pic>
      <p:sp>
        <p:nvSpPr>
          <p:cNvPr id="15" name="Rechteck: abgerundete Ecken 14">
            <a:extLst>
              <a:ext uri="{FF2B5EF4-FFF2-40B4-BE49-F238E27FC236}">
                <a16:creationId xmlns:a16="http://schemas.microsoft.com/office/drawing/2014/main" id="{8AB07DCB-949B-4BC9-91B4-1DCE5B418B36}"/>
              </a:ext>
            </a:extLst>
          </p:cNvPr>
          <p:cNvSpPr/>
          <p:nvPr/>
        </p:nvSpPr>
        <p:spPr bwMode="auto">
          <a:xfrm>
            <a:off x="8601407" y="4884237"/>
            <a:ext cx="2133649" cy="488582"/>
          </a:xfrm>
          <a:prstGeom prst="roundRect">
            <a:avLst/>
          </a:prstGeom>
          <a:noFill/>
          <a:ln w="57150">
            <a:solidFill>
              <a:srgbClr val="0070C0"/>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6" name="Rechteck: abgerundete Ecken 15">
            <a:extLst>
              <a:ext uri="{FF2B5EF4-FFF2-40B4-BE49-F238E27FC236}">
                <a16:creationId xmlns:a16="http://schemas.microsoft.com/office/drawing/2014/main" id="{D10478E9-BF83-4D4D-AF26-D58305B0783A}"/>
              </a:ext>
            </a:extLst>
          </p:cNvPr>
          <p:cNvSpPr/>
          <p:nvPr/>
        </p:nvSpPr>
        <p:spPr bwMode="auto">
          <a:xfrm>
            <a:off x="8601407" y="5379996"/>
            <a:ext cx="2133649" cy="1282932"/>
          </a:xfrm>
          <a:prstGeom prst="roundRect">
            <a:avLst/>
          </a:prstGeom>
          <a:noFill/>
          <a:ln w="57150">
            <a:solidFill>
              <a:srgbClr val="0070C0"/>
            </a:solidFill>
          </a:ln>
          <a:effectLst/>
        </p:spPr>
        <p:txBody>
          <a:bodyPr wrap="square" lIns="108000" tIns="54000" rIns="36000" bIns="54000" numCol="1" spcCol="72000" rtlCol="0" anchor="ctr">
            <a:noAutofit/>
          </a:bodyPr>
          <a:lstStyle/>
          <a:p>
            <a:pPr algn="l">
              <a:lnSpc>
                <a:spcPct val="110000"/>
              </a:lnSpc>
              <a:spcBef>
                <a:spcPct val="0"/>
              </a:spcBef>
            </a:pPr>
            <a:endParaRPr lang="en-US" dirty="0">
              <a:solidFill>
                <a:schemeClr val="bg1"/>
              </a:solidFill>
            </a:endParaRPr>
          </a:p>
        </p:txBody>
      </p:sp>
      <p:sp>
        <p:nvSpPr>
          <p:cNvPr id="18" name="Textfeld 337">
            <a:extLst>
              <a:ext uri="{FF2B5EF4-FFF2-40B4-BE49-F238E27FC236}">
                <a16:creationId xmlns:a16="http://schemas.microsoft.com/office/drawing/2014/main" id="{80252FEF-9C3B-4FB9-ADB0-7B6197FD6E0E}"/>
              </a:ext>
            </a:extLst>
          </p:cNvPr>
          <p:cNvSpPr txBox="1"/>
          <p:nvPr/>
        </p:nvSpPr>
        <p:spPr>
          <a:xfrm>
            <a:off x="-1" y="5630044"/>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sz="1100" b="0" dirty="0">
                <a:latin typeface="+mj-lt"/>
              </a:rPr>
              <a:t>– </a:t>
            </a:r>
            <a:r>
              <a:rPr lang="en-US" b="0" kern="1200" dirty="0">
                <a:latin typeface="+mj-lt"/>
                <a:ea typeface="+mn-ea"/>
              </a:rPr>
              <a:t>Security concept</a:t>
            </a:r>
            <a:endParaRPr lang="en-US" sz="1100" b="0" u="none" strike="noStrike" kern="1200" dirty="0">
              <a:effectLst/>
              <a:latin typeface="+mj-lt"/>
              <a:ea typeface="+mn-ea"/>
            </a:endParaRPr>
          </a:p>
        </p:txBody>
      </p:sp>
    </p:spTree>
    <p:extLst>
      <p:ext uri="{BB962C8B-B14F-4D97-AF65-F5344CB8AC3E}">
        <p14:creationId xmlns:p14="http://schemas.microsoft.com/office/powerpoint/2010/main" val="336506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dtText Box 4 Id114692">
            <a:extLst>
              <a:ext uri="{FF2B5EF4-FFF2-40B4-BE49-F238E27FC236}">
                <a16:creationId xmlns:a16="http://schemas.microsoft.com/office/drawing/2014/main" id="{78147749-85E7-4110-B55A-DB45D6D85C1A}"/>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a:solidFill>
                  <a:schemeClr val="bg1"/>
                </a:solidFill>
              </a:rPr>
              <a:t>Climatix HMI watch page creation</a:t>
            </a:r>
          </a:p>
        </p:txBody>
      </p:sp>
      <p:sp>
        <p:nvSpPr>
          <p:cNvPr id="12" name="Rectangle 11">
            <a:extLst>
              <a:ext uri="{FF2B5EF4-FFF2-40B4-BE49-F238E27FC236}">
                <a16:creationId xmlns:a16="http://schemas.microsoft.com/office/drawing/2014/main" id="{A4B2CF82-3A65-433D-BD22-7D52AEC002BE}"/>
              </a:ext>
            </a:extLst>
          </p:cNvPr>
          <p:cNvSpPr/>
          <p:nvPr/>
        </p:nvSpPr>
        <p:spPr bwMode="auto">
          <a:xfrm>
            <a:off x="10590307" y="53625"/>
            <a:ext cx="1411671" cy="334441"/>
          </a:xfrm>
          <a:prstGeom prst="rect">
            <a:avLst/>
          </a:prstGeom>
          <a:solidFill>
            <a:srgbClr val="92D050"/>
          </a:solidFill>
          <a:ln>
            <a:noFill/>
          </a:ln>
          <a:effectLst/>
        </p:spPr>
        <p:txBody>
          <a:bodyPr wrap="square" lIns="108000" tIns="54000" rIns="36000" bIns="54000" numCol="1" spcCol="72000" rtlCol="0" anchor="ctr">
            <a:noAutofit/>
          </a:bodyPr>
          <a:lstStyle/>
          <a:p>
            <a:pPr algn="l">
              <a:lnSpc>
                <a:spcPct val="110000"/>
              </a:lnSpc>
              <a:spcBef>
                <a:spcPct val="0"/>
              </a:spcBef>
            </a:pPr>
            <a:r>
              <a:rPr lang="en-US" b="1">
                <a:solidFill>
                  <a:schemeClr val="bg1"/>
                </a:solidFill>
              </a:rPr>
              <a:t>OK</a:t>
            </a:r>
          </a:p>
        </p:txBody>
      </p:sp>
      <p:pic>
        <p:nvPicPr>
          <p:cNvPr id="28" name="Picture 27">
            <a:extLst>
              <a:ext uri="{FF2B5EF4-FFF2-40B4-BE49-F238E27FC236}">
                <a16:creationId xmlns:a16="http://schemas.microsoft.com/office/drawing/2014/main" id="{1ACE2F9F-B6FA-44D7-99F0-75EF4ABDAC8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8170582" y="289364"/>
            <a:ext cx="4025928" cy="2688160"/>
          </a:xfrm>
          <a:prstGeom prst="rect">
            <a:avLst/>
          </a:prstGeom>
        </p:spPr>
      </p:pic>
      <p:sp>
        <p:nvSpPr>
          <p:cNvPr id="30" name="cdtText Box 4 Id114692">
            <a:extLst>
              <a:ext uri="{FF2B5EF4-FFF2-40B4-BE49-F238E27FC236}">
                <a16:creationId xmlns:a16="http://schemas.microsoft.com/office/drawing/2014/main" id="{1188C648-6BAF-45F2-9DC8-CC5693773129}"/>
              </a:ext>
            </a:extLst>
          </p:cNvPr>
          <p:cNvSpPr txBox="1">
            <a:spLocks noChangeArrowheads="1"/>
          </p:cNvSpPr>
          <p:nvPr/>
        </p:nvSpPr>
        <p:spPr bwMode="gray">
          <a:xfrm>
            <a:off x="2159999" y="1084"/>
            <a:ext cx="10035175" cy="468000"/>
          </a:xfrm>
          <a:prstGeom prst="rect">
            <a:avLst/>
          </a:prstGeom>
          <a:gradFill>
            <a:gsLst>
              <a:gs pos="58000">
                <a:srgbClr val="00315F"/>
              </a:gs>
              <a:gs pos="6000">
                <a:srgbClr val="00022B"/>
              </a:gs>
              <a:gs pos="100000">
                <a:srgbClr val="0080B6"/>
              </a:gs>
            </a:gsLst>
            <a:lin ang="0" scaled="0"/>
          </a:gradFill>
          <a:ln>
            <a:noFill/>
          </a:ln>
          <a:effectLst/>
        </p:spPr>
        <p:txBody>
          <a:bodyPr wrap="square" lIns="143963" tIns="143963" rIns="143963" bIns="143963" numCol="1" spcCol="72000" rtlCol="0" anchor="ctr">
            <a:noAutofit/>
          </a:bodyPr>
          <a:lstStyle>
            <a:defPPr>
              <a:defRPr lang="de-DE"/>
            </a:defPPr>
            <a:lvl1pPr>
              <a:lnSpc>
                <a:spcPct val="110000"/>
              </a:lnSpc>
              <a:spcBef>
                <a:spcPts val="0"/>
              </a:spcBef>
              <a:defRPr b="1">
                <a:solidFill>
                  <a:schemeClr val="tx1"/>
                </a:solidFill>
              </a:defRPr>
            </a:lvl1pPr>
          </a:lstStyle>
          <a:p>
            <a:pPr algn="l">
              <a:lnSpc>
                <a:spcPct val="100000"/>
              </a:lnSpc>
            </a:pPr>
            <a:r>
              <a:rPr lang="en-US" sz="1600" dirty="0" err="1">
                <a:solidFill>
                  <a:schemeClr val="bg1"/>
                </a:solidFill>
              </a:rPr>
              <a:t>Excercises</a:t>
            </a:r>
            <a:endParaRPr lang="en-US" sz="1600" dirty="0">
              <a:solidFill>
                <a:schemeClr val="bg1"/>
              </a:solidFill>
            </a:endParaRPr>
          </a:p>
        </p:txBody>
      </p:sp>
      <p:grpSp>
        <p:nvGrpSpPr>
          <p:cNvPr id="2" name="Gruppieren 1">
            <a:extLst>
              <a:ext uri="{FF2B5EF4-FFF2-40B4-BE49-F238E27FC236}">
                <a16:creationId xmlns:a16="http://schemas.microsoft.com/office/drawing/2014/main" id="{9B39BEC7-0374-4F3F-9EE1-4E19F5872651}"/>
              </a:ext>
            </a:extLst>
          </p:cNvPr>
          <p:cNvGrpSpPr>
            <a:grpSpLocks noChangeAspect="1"/>
          </p:cNvGrpSpPr>
          <p:nvPr/>
        </p:nvGrpSpPr>
        <p:grpSpPr>
          <a:xfrm>
            <a:off x="8170582" y="3655884"/>
            <a:ext cx="3732927" cy="2418968"/>
            <a:chOff x="7503904" y="610105"/>
            <a:chExt cx="4493347" cy="2911726"/>
          </a:xfrm>
        </p:grpSpPr>
        <p:sp>
          <p:nvSpPr>
            <p:cNvPr id="40" name="Oval 39">
              <a:extLst>
                <a:ext uri="{FF2B5EF4-FFF2-40B4-BE49-F238E27FC236}">
                  <a16:creationId xmlns:a16="http://schemas.microsoft.com/office/drawing/2014/main" id="{2CE53672-8924-4875-92FB-AB4174AF7AEE}"/>
                </a:ext>
              </a:extLst>
            </p:cNvPr>
            <p:cNvSpPr/>
            <p:nvPr/>
          </p:nvSpPr>
          <p:spPr bwMode="auto">
            <a:xfrm>
              <a:off x="10651335" y="2497502"/>
              <a:ext cx="409889" cy="409889"/>
            </a:xfrm>
            <a:prstGeom prst="ellipse">
              <a:avLst/>
            </a:prstGeom>
            <a:solidFill>
              <a:schemeClr val="accent3"/>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cxnSp>
          <p:nvCxnSpPr>
            <p:cNvPr id="42" name="Straight Connector 41">
              <a:extLst>
                <a:ext uri="{FF2B5EF4-FFF2-40B4-BE49-F238E27FC236}">
                  <a16:creationId xmlns:a16="http://schemas.microsoft.com/office/drawing/2014/main" id="{B6AD1BC8-1444-4B14-81A3-BACFAA761D93}"/>
                </a:ext>
              </a:extLst>
            </p:cNvPr>
            <p:cNvCxnSpPr/>
            <p:nvPr/>
          </p:nvCxnSpPr>
          <p:spPr bwMode="auto">
            <a:xfrm>
              <a:off x="7512570" y="2294237"/>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3" name="Rectangle 42">
              <a:extLst>
                <a:ext uri="{FF2B5EF4-FFF2-40B4-BE49-F238E27FC236}">
                  <a16:creationId xmlns:a16="http://schemas.microsoft.com/office/drawing/2014/main" id="{7F2E00D5-9EC5-47B5-87A8-E9353C124C75}"/>
                </a:ext>
              </a:extLst>
            </p:cNvPr>
            <p:cNvSpPr/>
            <p:nvPr/>
          </p:nvSpPr>
          <p:spPr bwMode="auto">
            <a:xfrm rot="16200000">
              <a:off x="10669076" y="1395175"/>
              <a:ext cx="2113246" cy="543105"/>
            </a:xfrm>
            <a:prstGeom prst="rect">
              <a:avLst/>
            </a:prstGeom>
            <a:noFill/>
            <a:ln w="762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nvGrpSpPr>
            <p:cNvPr id="44" name="Group 43">
              <a:extLst>
                <a:ext uri="{FF2B5EF4-FFF2-40B4-BE49-F238E27FC236}">
                  <a16:creationId xmlns:a16="http://schemas.microsoft.com/office/drawing/2014/main" id="{824058ED-5D5A-4468-A05C-8B47D5EDF5F3}"/>
                </a:ext>
              </a:extLst>
            </p:cNvPr>
            <p:cNvGrpSpPr/>
            <p:nvPr/>
          </p:nvGrpSpPr>
          <p:grpSpPr>
            <a:xfrm rot="10800000">
              <a:off x="10976736" y="2150629"/>
              <a:ext cx="242736" cy="287214"/>
              <a:chOff x="8014831" y="4649229"/>
              <a:chExt cx="242736" cy="287214"/>
            </a:xfrm>
          </p:grpSpPr>
          <p:sp>
            <p:nvSpPr>
              <p:cNvPr id="45" name="Rectangle 44">
                <a:extLst>
                  <a:ext uri="{FF2B5EF4-FFF2-40B4-BE49-F238E27FC236}">
                    <a16:creationId xmlns:a16="http://schemas.microsoft.com/office/drawing/2014/main" id="{8E071CFC-0ADD-4244-A5EC-FD0771A37955}"/>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46" name="Isosceles Triangle 45">
                <a:extLst>
                  <a:ext uri="{FF2B5EF4-FFF2-40B4-BE49-F238E27FC236}">
                    <a16:creationId xmlns:a16="http://schemas.microsoft.com/office/drawing/2014/main" id="{1B9B6592-83B6-4846-BADD-6A0B8B2B3D29}"/>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cxnSp>
          <p:nvCxnSpPr>
            <p:cNvPr id="47" name="Straight Connector 46">
              <a:extLst>
                <a:ext uri="{FF2B5EF4-FFF2-40B4-BE49-F238E27FC236}">
                  <a16:creationId xmlns:a16="http://schemas.microsoft.com/office/drawing/2014/main" id="{04B8DD7D-0D12-4397-818E-BCC77E2F41C7}"/>
                </a:ext>
              </a:extLst>
            </p:cNvPr>
            <p:cNvCxnSpPr/>
            <p:nvPr/>
          </p:nvCxnSpPr>
          <p:spPr bwMode="auto">
            <a:xfrm>
              <a:off x="7512570" y="961213"/>
              <a:ext cx="3930717" cy="0"/>
            </a:xfrm>
            <a:prstGeom prst="line">
              <a:avLst/>
            </a:prstGeom>
            <a:solidFill>
              <a:schemeClr val="tx2"/>
            </a:solidFill>
            <a:ln w="76200" cap="flat" cmpd="sng" algn="ctr">
              <a:solidFill>
                <a:srgbClr val="0000C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48" name="Group 47">
              <a:extLst>
                <a:ext uri="{FF2B5EF4-FFF2-40B4-BE49-F238E27FC236}">
                  <a16:creationId xmlns:a16="http://schemas.microsoft.com/office/drawing/2014/main" id="{870AF27E-6CC3-4701-A688-1C0D81888521}"/>
                </a:ext>
              </a:extLst>
            </p:cNvPr>
            <p:cNvGrpSpPr/>
            <p:nvPr/>
          </p:nvGrpSpPr>
          <p:grpSpPr>
            <a:xfrm>
              <a:off x="10976736" y="817606"/>
              <a:ext cx="242736" cy="287214"/>
              <a:chOff x="8014831" y="4649229"/>
              <a:chExt cx="242736" cy="287214"/>
            </a:xfrm>
          </p:grpSpPr>
          <p:sp>
            <p:nvSpPr>
              <p:cNvPr id="49" name="Rectangle 48">
                <a:extLst>
                  <a:ext uri="{FF2B5EF4-FFF2-40B4-BE49-F238E27FC236}">
                    <a16:creationId xmlns:a16="http://schemas.microsoft.com/office/drawing/2014/main" id="{6DE01FD1-8CCD-42FE-B4EC-65DAEDCD3D02}"/>
                  </a:ext>
                </a:extLst>
              </p:cNvPr>
              <p:cNvSpPr/>
              <p:nvPr/>
            </p:nvSpPr>
            <p:spPr bwMode="auto">
              <a:xfrm>
                <a:off x="8014831" y="4649229"/>
                <a:ext cx="242736" cy="287214"/>
              </a:xfrm>
              <a:prstGeom prst="rect">
                <a:avLst/>
              </a:prstGeom>
              <a:solidFill>
                <a:schemeClr val="bg1"/>
              </a:solidFill>
              <a:ln>
                <a:noFill/>
              </a:ln>
              <a:effectLst/>
            </p:spPr>
            <p:txBody>
              <a:bodyPr wrap="square" lIns="108000" tIns="54000" rIns="36000" bIns="54000" numCol="1" spcCol="72000" rtlCol="0" anchor="ctr">
                <a:noAutofit/>
              </a:bodyPr>
              <a:lstStyle/>
              <a:p>
                <a:pPr algn="l">
                  <a:lnSpc>
                    <a:spcPct val="110000"/>
                  </a:lnSpc>
                  <a:spcBef>
                    <a:spcPct val="0"/>
                  </a:spcBef>
                </a:pPr>
                <a:endParaRPr lang="en-US">
                  <a:solidFill>
                    <a:schemeClr val="bg1"/>
                  </a:solidFill>
                </a:endParaRPr>
              </a:p>
            </p:txBody>
          </p:sp>
          <p:sp>
            <p:nvSpPr>
              <p:cNvPr id="50" name="Isosceles Triangle 49">
                <a:extLst>
                  <a:ext uri="{FF2B5EF4-FFF2-40B4-BE49-F238E27FC236}">
                    <a16:creationId xmlns:a16="http://schemas.microsoft.com/office/drawing/2014/main" id="{9AC1CE49-F9C8-4C12-B165-F36B422EA53E}"/>
                  </a:ext>
                </a:extLst>
              </p:cNvPr>
              <p:cNvSpPr/>
              <p:nvPr/>
            </p:nvSpPr>
            <p:spPr bwMode="auto">
              <a:xfrm rot="16200000">
                <a:off x="8032200" y="4698076"/>
                <a:ext cx="204692" cy="189521"/>
              </a:xfrm>
              <a:prstGeom prst="triangle">
                <a:avLst/>
              </a:prstGeom>
              <a:solidFill>
                <a:srgbClr val="0000CA"/>
              </a:solidFill>
              <a:ln w="25400">
                <a:no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grpSp>
        <p:grpSp>
          <p:nvGrpSpPr>
            <p:cNvPr id="51" name="Group 50">
              <a:extLst>
                <a:ext uri="{FF2B5EF4-FFF2-40B4-BE49-F238E27FC236}">
                  <a16:creationId xmlns:a16="http://schemas.microsoft.com/office/drawing/2014/main" id="{33824546-D721-4232-9443-B923B3771D74}"/>
                </a:ext>
              </a:extLst>
            </p:cNvPr>
            <p:cNvGrpSpPr/>
            <p:nvPr/>
          </p:nvGrpSpPr>
          <p:grpSpPr>
            <a:xfrm>
              <a:off x="8923215" y="2164503"/>
              <a:ext cx="301106" cy="522950"/>
              <a:chOff x="8723158" y="4646093"/>
              <a:chExt cx="301106" cy="522950"/>
            </a:xfrm>
          </p:grpSpPr>
          <p:grpSp>
            <p:nvGrpSpPr>
              <p:cNvPr id="52" name="Group 51">
                <a:extLst>
                  <a:ext uri="{FF2B5EF4-FFF2-40B4-BE49-F238E27FC236}">
                    <a16:creationId xmlns:a16="http://schemas.microsoft.com/office/drawing/2014/main" id="{0E6380E4-2B20-44D9-AEE3-C2D6E1A8A506}"/>
                  </a:ext>
                </a:extLst>
              </p:cNvPr>
              <p:cNvGrpSpPr/>
              <p:nvPr/>
            </p:nvGrpSpPr>
            <p:grpSpPr>
              <a:xfrm rot="16200000">
                <a:off x="8612236" y="4757015"/>
                <a:ext cx="522950" cy="301106"/>
                <a:chOff x="10997936" y="4512462"/>
                <a:chExt cx="215204" cy="382394"/>
              </a:xfrm>
              <a:solidFill>
                <a:schemeClr val="bg1"/>
              </a:solidFill>
            </p:grpSpPr>
            <p:sp>
              <p:nvSpPr>
                <p:cNvPr id="54" name="Rectangle 53">
                  <a:extLst>
                    <a:ext uri="{FF2B5EF4-FFF2-40B4-BE49-F238E27FC236}">
                      <a16:creationId xmlns:a16="http://schemas.microsoft.com/office/drawing/2014/main" id="{E6A55A22-07D7-4CBA-B1FE-321AD6C381FD}"/>
                    </a:ext>
                  </a:extLst>
                </p:cNvPr>
                <p:cNvSpPr/>
                <p:nvPr/>
              </p:nvSpPr>
              <p:spPr bwMode="auto">
                <a:xfrm>
                  <a:off x="10997936" y="4512464"/>
                  <a:ext cx="215204" cy="382392"/>
                </a:xfrm>
                <a:prstGeom prst="rect">
                  <a:avLst/>
                </a:prstGeom>
                <a:solidFill>
                  <a:schemeClr val="accent5">
                    <a:lumMod val="40000"/>
                    <a:lumOff val="60000"/>
                  </a:schemeClr>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55" name="Straight Connector 54">
                  <a:extLst>
                    <a:ext uri="{FF2B5EF4-FFF2-40B4-BE49-F238E27FC236}">
                      <a16:creationId xmlns:a16="http://schemas.microsoft.com/office/drawing/2014/main" id="{D9F9700B-1A5F-41E5-A269-99B66A7D8456}"/>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6" name="Straight Connector 55">
                  <a:extLst>
                    <a:ext uri="{FF2B5EF4-FFF2-40B4-BE49-F238E27FC236}">
                      <a16:creationId xmlns:a16="http://schemas.microsoft.com/office/drawing/2014/main" id="{AE6EA885-7CED-47A7-A7F9-C6FA450D0191}"/>
                    </a:ext>
                  </a:extLst>
                </p:cNvPr>
                <p:cNvCxnSpPr>
                  <a:cxnSpLocks/>
                </p:cNvCxnSpPr>
                <p:nvPr/>
              </p:nvCxnSpPr>
              <p:spPr bwMode="auto">
                <a:xfrm flipH="1">
                  <a:off x="10997936" y="4512463"/>
                  <a:ext cx="215204" cy="37440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53" name="Straight Connector 52">
                <a:extLst>
                  <a:ext uri="{FF2B5EF4-FFF2-40B4-BE49-F238E27FC236}">
                    <a16:creationId xmlns:a16="http://schemas.microsoft.com/office/drawing/2014/main" id="{C6698F83-EC0B-41D7-A617-E6AAA97DD8B1}"/>
                  </a:ext>
                </a:extLst>
              </p:cNvPr>
              <p:cNvCxnSpPr/>
              <p:nvPr/>
            </p:nvCxnSpPr>
            <p:spPr bwMode="auto">
              <a:xfrm flipH="1">
                <a:off x="8817859" y="4710977"/>
                <a:ext cx="110490" cy="0"/>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57" name="Group 56">
              <a:extLst>
                <a:ext uri="{FF2B5EF4-FFF2-40B4-BE49-F238E27FC236}">
                  <a16:creationId xmlns:a16="http://schemas.microsoft.com/office/drawing/2014/main" id="{A5BC467E-F1FC-4762-91BE-C74A45AC2F87}"/>
                </a:ext>
              </a:extLst>
            </p:cNvPr>
            <p:cNvGrpSpPr/>
            <p:nvPr/>
          </p:nvGrpSpPr>
          <p:grpSpPr>
            <a:xfrm>
              <a:off x="9420451" y="2156816"/>
              <a:ext cx="301106" cy="522950"/>
              <a:chOff x="9220394" y="4638406"/>
              <a:chExt cx="301106" cy="522950"/>
            </a:xfrm>
          </p:grpSpPr>
          <p:grpSp>
            <p:nvGrpSpPr>
              <p:cNvPr id="58" name="Group 57">
                <a:extLst>
                  <a:ext uri="{FF2B5EF4-FFF2-40B4-BE49-F238E27FC236}">
                    <a16:creationId xmlns:a16="http://schemas.microsoft.com/office/drawing/2014/main" id="{C40E5847-294F-413A-98EB-C4802FEEFEEC}"/>
                  </a:ext>
                </a:extLst>
              </p:cNvPr>
              <p:cNvGrpSpPr/>
              <p:nvPr/>
            </p:nvGrpSpPr>
            <p:grpSpPr>
              <a:xfrm rot="16200000">
                <a:off x="9109472" y="4749328"/>
                <a:ext cx="522950" cy="301106"/>
                <a:chOff x="10997936" y="4512462"/>
                <a:chExt cx="215204" cy="382394"/>
              </a:xfrm>
              <a:solidFill>
                <a:schemeClr val="bg1"/>
              </a:solidFill>
            </p:grpSpPr>
            <p:sp>
              <p:nvSpPr>
                <p:cNvPr id="62" name="Rectangle 61">
                  <a:extLst>
                    <a:ext uri="{FF2B5EF4-FFF2-40B4-BE49-F238E27FC236}">
                      <a16:creationId xmlns:a16="http://schemas.microsoft.com/office/drawing/2014/main" id="{02442D03-354F-4BEB-BEBA-270FB5396F19}"/>
                    </a:ext>
                  </a:extLst>
                </p:cNvPr>
                <p:cNvSpPr/>
                <p:nvPr/>
              </p:nvSpPr>
              <p:spPr bwMode="auto">
                <a:xfrm>
                  <a:off x="10997936" y="4512464"/>
                  <a:ext cx="215204" cy="382392"/>
                </a:xfrm>
                <a:prstGeom prst="rect">
                  <a:avLst/>
                </a:prstGeom>
                <a:solidFill>
                  <a:srgbClr val="FFFF00"/>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63" name="Straight Connector 62">
                  <a:extLst>
                    <a:ext uri="{FF2B5EF4-FFF2-40B4-BE49-F238E27FC236}">
                      <a16:creationId xmlns:a16="http://schemas.microsoft.com/office/drawing/2014/main" id="{4677C7D5-6965-44EA-84D6-5483C86471CF}"/>
                    </a:ext>
                  </a:extLst>
                </p:cNvPr>
                <p:cNvCxnSpPr>
                  <a:cxnSpLocks/>
                </p:cNvCxnSpPr>
                <p:nvPr/>
              </p:nvCxnSpPr>
              <p:spPr bwMode="auto">
                <a:xfrm rot="5400000" flipV="1">
                  <a:off x="10916690" y="4597287"/>
                  <a:ext cx="374874" cy="20522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59" name="Group 58">
                <a:extLst>
                  <a:ext uri="{FF2B5EF4-FFF2-40B4-BE49-F238E27FC236}">
                    <a16:creationId xmlns:a16="http://schemas.microsoft.com/office/drawing/2014/main" id="{22FBC554-CD1C-4C0D-B10B-204BD991CFC2}"/>
                  </a:ext>
                </a:extLst>
              </p:cNvPr>
              <p:cNvGrpSpPr/>
              <p:nvPr/>
            </p:nvGrpSpPr>
            <p:grpSpPr>
              <a:xfrm>
                <a:off x="9303152" y="4665719"/>
                <a:ext cx="121539" cy="123044"/>
                <a:chOff x="5061585" y="2973937"/>
                <a:chExt cx="110490" cy="123044"/>
              </a:xfrm>
              <a:solidFill>
                <a:schemeClr val="bg1"/>
              </a:solidFill>
            </p:grpSpPr>
            <p:cxnSp>
              <p:nvCxnSpPr>
                <p:cNvPr id="60" name="Straight Connector 59">
                  <a:extLst>
                    <a:ext uri="{FF2B5EF4-FFF2-40B4-BE49-F238E27FC236}">
                      <a16:creationId xmlns:a16="http://schemas.microsoft.com/office/drawing/2014/main" id="{2AC00541-7C6F-4878-89C1-01A808744EAD}"/>
                    </a:ext>
                  </a:extLst>
                </p:cNvPr>
                <p:cNvCxnSpPr/>
                <p:nvPr/>
              </p:nvCxnSpPr>
              <p:spPr bwMode="auto">
                <a:xfrm>
                  <a:off x="5116830" y="2973937"/>
                  <a:ext cx="0" cy="1230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a:extLst>
                    <a:ext uri="{FF2B5EF4-FFF2-40B4-BE49-F238E27FC236}">
                      <a16:creationId xmlns:a16="http://schemas.microsoft.com/office/drawing/2014/main" id="{248C68E0-A9E3-4C03-BA69-E90E616FF69A}"/>
                    </a:ext>
                  </a:extLst>
                </p:cNvPr>
                <p:cNvCxnSpPr/>
                <p:nvPr/>
              </p:nvCxnSpPr>
              <p:spPr bwMode="auto">
                <a:xfrm flipH="1">
                  <a:off x="5061585" y="3038720"/>
                  <a:ext cx="110490" cy="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64" name="Group 63">
              <a:extLst>
                <a:ext uri="{FF2B5EF4-FFF2-40B4-BE49-F238E27FC236}">
                  <a16:creationId xmlns:a16="http://schemas.microsoft.com/office/drawing/2014/main" id="{FF852F69-D8DE-42D3-A34F-BAA402291F79}"/>
                </a:ext>
              </a:extLst>
            </p:cNvPr>
            <p:cNvGrpSpPr/>
            <p:nvPr/>
          </p:nvGrpSpPr>
          <p:grpSpPr>
            <a:xfrm rot="16200000">
              <a:off x="8186000" y="2151116"/>
              <a:ext cx="522950" cy="301104"/>
              <a:chOff x="10997936" y="4512464"/>
              <a:chExt cx="215204" cy="382392"/>
            </a:xfrm>
            <a:solidFill>
              <a:schemeClr val="bg1"/>
            </a:solidFill>
          </p:grpSpPr>
          <p:sp>
            <p:nvSpPr>
              <p:cNvPr id="65" name="Rectangle 64">
                <a:extLst>
                  <a:ext uri="{FF2B5EF4-FFF2-40B4-BE49-F238E27FC236}">
                    <a16:creationId xmlns:a16="http://schemas.microsoft.com/office/drawing/2014/main" id="{871E0C33-09A8-4748-A921-5DBECDAD8A56}"/>
                  </a:ext>
                </a:extLst>
              </p:cNvPr>
              <p:cNvSpPr/>
              <p:nvPr/>
            </p:nvSpPr>
            <p:spPr bwMode="auto">
              <a:xfrm>
                <a:off x="10997936" y="4512464"/>
                <a:ext cx="215204" cy="382392"/>
              </a:xfrm>
              <a:prstGeom prst="rect">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cxnSp>
            <p:nvCxnSpPr>
              <p:cNvPr id="66" name="Straight Connector 65">
                <a:extLst>
                  <a:ext uri="{FF2B5EF4-FFF2-40B4-BE49-F238E27FC236}">
                    <a16:creationId xmlns:a16="http://schemas.microsoft.com/office/drawing/2014/main" id="{2F4B81BC-8DAE-4FCC-BB24-52B5082DCF89}"/>
                  </a:ext>
                </a:extLst>
              </p:cNvPr>
              <p:cNvCxnSpPr>
                <a:cxnSpLocks/>
                <a:stCxn id="65" idx="1"/>
                <a:endCxn id="65" idx="2"/>
              </p:cNvCxnSpPr>
              <p:nvPr/>
            </p:nvCxnSpPr>
            <p:spPr bwMode="auto">
              <a:xfrm rot="5400000" flipV="1">
                <a:off x="10956139"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7" name="Straight Connector 66">
                <a:extLst>
                  <a:ext uri="{FF2B5EF4-FFF2-40B4-BE49-F238E27FC236}">
                    <a16:creationId xmlns:a16="http://schemas.microsoft.com/office/drawing/2014/main" id="{E476E88E-0A02-4717-8AD7-BF2895D7985A}"/>
                  </a:ext>
                </a:extLst>
              </p:cNvPr>
              <p:cNvCxnSpPr>
                <a:cxnSpLocks/>
                <a:stCxn id="65" idx="3"/>
                <a:endCxn id="65" idx="2"/>
              </p:cNvCxnSpPr>
              <p:nvPr/>
            </p:nvCxnSpPr>
            <p:spPr bwMode="auto">
              <a:xfrm rot="5400000">
                <a:off x="11063741" y="4745457"/>
                <a:ext cx="191196" cy="107602"/>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68" name="Straight Connector 67">
              <a:extLst>
                <a:ext uri="{FF2B5EF4-FFF2-40B4-BE49-F238E27FC236}">
                  <a16:creationId xmlns:a16="http://schemas.microsoft.com/office/drawing/2014/main" id="{1586F229-52CF-441E-BAA0-2E4FB3A12DA7}"/>
                </a:ext>
              </a:extLst>
            </p:cNvPr>
            <p:cNvCxnSpPr/>
            <p:nvPr/>
          </p:nvCxnSpPr>
          <p:spPr bwMode="auto">
            <a:xfrm>
              <a:off x="8985026" y="2687453"/>
              <a:ext cx="13469"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Straight Connector 68">
              <a:extLst>
                <a:ext uri="{FF2B5EF4-FFF2-40B4-BE49-F238E27FC236}">
                  <a16:creationId xmlns:a16="http://schemas.microsoft.com/office/drawing/2014/main" id="{DE2F2A51-9851-42B2-B3FE-5E257D13D112}"/>
                </a:ext>
              </a:extLst>
            </p:cNvPr>
            <p:cNvCxnSpPr/>
            <p:nvPr/>
          </p:nvCxnSpPr>
          <p:spPr bwMode="auto">
            <a:xfrm>
              <a:off x="9163527" y="2687453"/>
              <a:ext cx="0"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70" name="Group 69">
              <a:extLst>
                <a:ext uri="{FF2B5EF4-FFF2-40B4-BE49-F238E27FC236}">
                  <a16:creationId xmlns:a16="http://schemas.microsoft.com/office/drawing/2014/main" id="{0CF82B51-0F0A-4CED-A8E5-9DCCC174B23F}"/>
                </a:ext>
              </a:extLst>
            </p:cNvPr>
            <p:cNvGrpSpPr/>
            <p:nvPr/>
          </p:nvGrpSpPr>
          <p:grpSpPr>
            <a:xfrm>
              <a:off x="8800312" y="2873856"/>
              <a:ext cx="297146" cy="180736"/>
              <a:chOff x="5911240" y="5012523"/>
              <a:chExt cx="620858" cy="377631"/>
            </a:xfrm>
          </p:grpSpPr>
          <p:cxnSp>
            <p:nvCxnSpPr>
              <p:cNvPr id="71" name="Straight Connector 70">
                <a:extLst>
                  <a:ext uri="{FF2B5EF4-FFF2-40B4-BE49-F238E27FC236}">
                    <a16:creationId xmlns:a16="http://schemas.microsoft.com/office/drawing/2014/main" id="{2EF356F4-1285-4004-AFEA-1737C05D8959}"/>
                  </a:ext>
                </a:extLst>
              </p:cNvPr>
              <p:cNvCxnSpPr>
                <a:cxnSpLocks/>
                <a:endCxn id="75"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2" name="Isosceles Triangle 71">
                <a:extLst>
                  <a:ext uri="{FF2B5EF4-FFF2-40B4-BE49-F238E27FC236}">
                    <a16:creationId xmlns:a16="http://schemas.microsoft.com/office/drawing/2014/main" id="{0FE00990-9A66-406A-BEDA-8E03A8F00585}"/>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73" name="Isosceles Triangle 72">
                <a:extLst>
                  <a:ext uri="{FF2B5EF4-FFF2-40B4-BE49-F238E27FC236}">
                    <a16:creationId xmlns:a16="http://schemas.microsoft.com/office/drawing/2014/main" id="{8AF5D78E-A517-4B41-B9AC-0D7965ABB19D}"/>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74" name="Isosceles Triangle 73">
                <a:extLst>
                  <a:ext uri="{FF2B5EF4-FFF2-40B4-BE49-F238E27FC236}">
                    <a16:creationId xmlns:a16="http://schemas.microsoft.com/office/drawing/2014/main" id="{D0ACCDB4-DC5E-4077-B7A7-6980E92C6C90}"/>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75" name="Oval 74">
                <a:extLst>
                  <a:ext uri="{FF2B5EF4-FFF2-40B4-BE49-F238E27FC236}">
                    <a16:creationId xmlns:a16="http://schemas.microsoft.com/office/drawing/2014/main" id="{48CAAEF0-E227-4B14-A455-88304431CF57}"/>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76" name="Straight Connector 75">
              <a:extLst>
                <a:ext uri="{FF2B5EF4-FFF2-40B4-BE49-F238E27FC236}">
                  <a16:creationId xmlns:a16="http://schemas.microsoft.com/office/drawing/2014/main" id="{1379FE01-FF51-42D5-91EE-D8B40078A10C}"/>
                </a:ext>
              </a:extLst>
            </p:cNvPr>
            <p:cNvCxnSpPr/>
            <p:nvPr/>
          </p:nvCxnSpPr>
          <p:spPr bwMode="auto">
            <a:xfrm>
              <a:off x="9486994" y="2687453"/>
              <a:ext cx="13469"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Straight Connector 76">
              <a:extLst>
                <a:ext uri="{FF2B5EF4-FFF2-40B4-BE49-F238E27FC236}">
                  <a16:creationId xmlns:a16="http://schemas.microsoft.com/office/drawing/2014/main" id="{E94DDB47-0EF3-41FB-9C98-66718A6B2DF0}"/>
                </a:ext>
              </a:extLst>
            </p:cNvPr>
            <p:cNvCxnSpPr/>
            <p:nvPr/>
          </p:nvCxnSpPr>
          <p:spPr bwMode="auto">
            <a:xfrm>
              <a:off x="9665495" y="2687453"/>
              <a:ext cx="0" cy="834378"/>
            </a:xfrm>
            <a:prstGeom prst="line">
              <a:avLst/>
            </a:prstGeom>
            <a:solidFill>
              <a:schemeClr val="tx2"/>
            </a:solidFill>
            <a:ln w="12700" cap="flat" cmpd="sng" algn="ctr">
              <a:solidFill>
                <a:srgbClr val="49617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nvGrpSpPr>
            <p:cNvPr id="78" name="Group 77">
              <a:extLst>
                <a:ext uri="{FF2B5EF4-FFF2-40B4-BE49-F238E27FC236}">
                  <a16:creationId xmlns:a16="http://schemas.microsoft.com/office/drawing/2014/main" id="{1711D912-0748-49B3-8E0C-832E323EB870}"/>
                </a:ext>
              </a:extLst>
            </p:cNvPr>
            <p:cNvGrpSpPr/>
            <p:nvPr/>
          </p:nvGrpSpPr>
          <p:grpSpPr>
            <a:xfrm>
              <a:off x="9302280" y="2873856"/>
              <a:ext cx="297146" cy="180736"/>
              <a:chOff x="5911240" y="5012523"/>
              <a:chExt cx="620858" cy="377631"/>
            </a:xfrm>
          </p:grpSpPr>
          <p:cxnSp>
            <p:nvCxnSpPr>
              <p:cNvPr id="79" name="Straight Connector 78">
                <a:extLst>
                  <a:ext uri="{FF2B5EF4-FFF2-40B4-BE49-F238E27FC236}">
                    <a16:creationId xmlns:a16="http://schemas.microsoft.com/office/drawing/2014/main" id="{4AEB5345-9B42-4EF8-930F-493FFFF70116}"/>
                  </a:ext>
                </a:extLst>
              </p:cNvPr>
              <p:cNvCxnSpPr>
                <a:cxnSpLocks/>
                <a:endCxn id="83" idx="6"/>
              </p:cNvCxnSpPr>
              <p:nvPr/>
            </p:nvCxnSpPr>
            <p:spPr bwMode="auto">
              <a:xfrm flipH="1">
                <a:off x="6158697" y="5205215"/>
                <a:ext cx="152236" cy="4203"/>
              </a:xfrm>
              <a:prstGeom prst="line">
                <a:avLst/>
              </a:prstGeom>
              <a:solidFill>
                <a:schemeClr val="tx2"/>
              </a:solidFill>
              <a:ln w="19050" cap="flat" cmpd="sng" algn="ctr">
                <a:solidFill>
                  <a:schemeClr val="bg2">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0" name="Isosceles Triangle 79">
                <a:extLst>
                  <a:ext uri="{FF2B5EF4-FFF2-40B4-BE49-F238E27FC236}">
                    <a16:creationId xmlns:a16="http://schemas.microsoft.com/office/drawing/2014/main" id="{2283F714-9480-4BD6-B53A-D4120DC929BF}"/>
                  </a:ext>
                </a:extLst>
              </p:cNvPr>
              <p:cNvSpPr/>
              <p:nvPr/>
            </p:nvSpPr>
            <p:spPr bwMode="auto">
              <a:xfrm rot="10800000">
                <a:off x="6181617" y="5012523"/>
                <a:ext cx="258631" cy="189521"/>
              </a:xfrm>
              <a:prstGeom prst="triangle">
                <a:avLst/>
              </a:prstGeom>
              <a:solidFill>
                <a:schemeClr val="bg2">
                  <a:lumMod val="50000"/>
                </a:schemeClr>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81" name="Isosceles Triangle 80">
                <a:extLst>
                  <a:ext uri="{FF2B5EF4-FFF2-40B4-BE49-F238E27FC236}">
                    <a16:creationId xmlns:a16="http://schemas.microsoft.com/office/drawing/2014/main" id="{D3593E66-D92E-4C5C-A604-37A77AB63869}"/>
                  </a:ext>
                </a:extLst>
              </p:cNvPr>
              <p:cNvSpPr/>
              <p:nvPr/>
            </p:nvSpPr>
            <p:spPr bwMode="auto">
              <a:xfrm>
                <a:off x="6181617" y="5200633"/>
                <a:ext cx="258631" cy="189521"/>
              </a:xfrm>
              <a:prstGeom prst="triangle">
                <a:avLst/>
              </a:prstGeom>
              <a:solidFill>
                <a:schemeClr val="bg1"/>
              </a:solid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82" name="Isosceles Triangle 81">
                <a:extLst>
                  <a:ext uri="{FF2B5EF4-FFF2-40B4-BE49-F238E27FC236}">
                    <a16:creationId xmlns:a16="http://schemas.microsoft.com/office/drawing/2014/main" id="{374F9427-060A-44FE-8CC9-69258BD4EDDA}"/>
                  </a:ext>
                </a:extLst>
              </p:cNvPr>
              <p:cNvSpPr/>
              <p:nvPr/>
            </p:nvSpPr>
            <p:spPr bwMode="auto">
              <a:xfrm rot="16200000">
                <a:off x="6308022" y="5109070"/>
                <a:ext cx="258631" cy="189521"/>
              </a:xfrm>
              <a:prstGeom prst="triangle">
                <a:avLst/>
              </a:prstGeom>
              <a:solidFill>
                <a:schemeClr val="bg2">
                  <a:lumMod val="50000"/>
                </a:schemeClr>
              </a:solidFill>
              <a:ln w="19050">
                <a:solidFill>
                  <a:schemeClr val="bg2">
                    <a:lumMod val="50000"/>
                  </a:schemeClr>
                </a:solidFill>
                <a:miter lim="800000"/>
              </a:ln>
              <a:effectLst/>
            </p:spPr>
            <p:txBody>
              <a:bodyPr wrap="square" lIns="108000" tIns="54000" rIns="108000" bIns="54000" numCol="1" spcCol="72000" rtlCol="0" anchor="ctr">
                <a:noAutofit/>
              </a:bodyPr>
              <a:lstStyle/>
              <a:p>
                <a:pPr>
                  <a:lnSpc>
                    <a:spcPct val="110000"/>
                  </a:lnSpc>
                  <a:spcBef>
                    <a:spcPct val="0"/>
                  </a:spcBef>
                </a:pPr>
                <a:endParaRPr lang="de-DE">
                  <a:solidFill>
                    <a:schemeClr val="tx1"/>
                  </a:solidFill>
                  <a:latin typeface="+mn-lt"/>
                  <a:ea typeface="Arial Unicode MS" panose="020B0604020202020204" pitchFamily="34" charset="-128"/>
                  <a:cs typeface="Arial Unicode MS" panose="020B0604020202020204" pitchFamily="34" charset="-128"/>
                </a:endParaRPr>
              </a:p>
            </p:txBody>
          </p:sp>
          <p:sp>
            <p:nvSpPr>
              <p:cNvPr id="83" name="Oval 82">
                <a:extLst>
                  <a:ext uri="{FF2B5EF4-FFF2-40B4-BE49-F238E27FC236}">
                    <a16:creationId xmlns:a16="http://schemas.microsoft.com/office/drawing/2014/main" id="{2CD091B9-8C96-4A22-BA67-1D80EE1D9E51}"/>
                  </a:ext>
                </a:extLst>
              </p:cNvPr>
              <p:cNvSpPr/>
              <p:nvPr/>
            </p:nvSpPr>
            <p:spPr bwMode="auto">
              <a:xfrm>
                <a:off x="5911240" y="5085689"/>
                <a:ext cx="247457" cy="247457"/>
              </a:xfrm>
              <a:prstGeom prst="ellipse">
                <a:avLst/>
              </a:prstGeom>
              <a:noFill/>
              <a:ln w="1905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nSpc>
                    <a:spcPct val="110000"/>
                  </a:lnSpc>
                  <a:spcBef>
                    <a:spcPct val="0"/>
                  </a:spcBef>
                </a:pPr>
                <a:r>
                  <a:rPr lang="de-DE" sz="600">
                    <a:solidFill>
                      <a:schemeClr val="tx1"/>
                    </a:solidFill>
                    <a:latin typeface="+mn-lt"/>
                    <a:ea typeface="Arial Unicode MS" panose="020B0604020202020204" pitchFamily="34" charset="-128"/>
                    <a:cs typeface="Arial Unicode MS" panose="020B0604020202020204" pitchFamily="34" charset="-128"/>
                  </a:rPr>
                  <a:t>M</a:t>
                </a:r>
              </a:p>
            </p:txBody>
          </p:sp>
        </p:grpSp>
        <p:cxnSp>
          <p:nvCxnSpPr>
            <p:cNvPr id="84" name="Straight Connector 83">
              <a:extLst>
                <a:ext uri="{FF2B5EF4-FFF2-40B4-BE49-F238E27FC236}">
                  <a16:creationId xmlns:a16="http://schemas.microsoft.com/office/drawing/2014/main" id="{5379F343-6BEE-4862-B243-EAE311C6CA45}"/>
                </a:ext>
              </a:extLst>
            </p:cNvPr>
            <p:cNvCxnSpPr>
              <a:cxnSpLocks/>
              <a:endCxn id="40" idx="0"/>
            </p:cNvCxnSpPr>
            <p:nvPr/>
          </p:nvCxnSpPr>
          <p:spPr bwMode="auto">
            <a:xfrm>
              <a:off x="10856167" y="2337018"/>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5" name="Oval 84">
              <a:extLst>
                <a:ext uri="{FF2B5EF4-FFF2-40B4-BE49-F238E27FC236}">
                  <a16:creationId xmlns:a16="http://schemas.microsoft.com/office/drawing/2014/main" id="{9CD2A916-32D2-470E-BA9D-27137E464CA5}"/>
                </a:ext>
              </a:extLst>
            </p:cNvPr>
            <p:cNvSpPr/>
            <p:nvPr/>
          </p:nvSpPr>
          <p:spPr bwMode="auto">
            <a:xfrm>
              <a:off x="11520754" y="1389800"/>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grpSp>
          <p:nvGrpSpPr>
            <p:cNvPr id="86" name="Group 85">
              <a:extLst>
                <a:ext uri="{FF2B5EF4-FFF2-40B4-BE49-F238E27FC236}">
                  <a16:creationId xmlns:a16="http://schemas.microsoft.com/office/drawing/2014/main" id="{63CA0D28-DE80-4B0C-9947-7BC600EE6E20}"/>
                </a:ext>
              </a:extLst>
            </p:cNvPr>
            <p:cNvGrpSpPr/>
            <p:nvPr/>
          </p:nvGrpSpPr>
          <p:grpSpPr>
            <a:xfrm>
              <a:off x="9969973" y="2124669"/>
              <a:ext cx="333525" cy="331239"/>
              <a:chOff x="7170823" y="2963575"/>
              <a:chExt cx="479658" cy="476370"/>
            </a:xfrm>
            <a:solidFill>
              <a:schemeClr val="bg1"/>
            </a:solidFill>
          </p:grpSpPr>
          <p:sp>
            <p:nvSpPr>
              <p:cNvPr id="87" name="Oval 86">
                <a:extLst>
                  <a:ext uri="{FF2B5EF4-FFF2-40B4-BE49-F238E27FC236}">
                    <a16:creationId xmlns:a16="http://schemas.microsoft.com/office/drawing/2014/main" id="{6536D23A-C25A-4423-9BC9-F5BD2A738463}"/>
                  </a:ext>
                </a:extLst>
              </p:cNvPr>
              <p:cNvSpPr/>
              <p:nvPr/>
            </p:nvSpPr>
            <p:spPr bwMode="auto">
              <a:xfrm>
                <a:off x="7170823" y="2963575"/>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88" name="Straight Connector 87">
                <a:extLst>
                  <a:ext uri="{FF2B5EF4-FFF2-40B4-BE49-F238E27FC236}">
                    <a16:creationId xmlns:a16="http://schemas.microsoft.com/office/drawing/2014/main" id="{B0F368AC-DADD-418A-9DFA-7B75FE741149}"/>
                  </a:ext>
                </a:extLst>
              </p:cNvPr>
              <p:cNvCxnSpPr>
                <a:endCxn id="87"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89" name="Straight Connector 88">
                <a:extLst>
                  <a:ext uri="{FF2B5EF4-FFF2-40B4-BE49-F238E27FC236}">
                    <a16:creationId xmlns:a16="http://schemas.microsoft.com/office/drawing/2014/main" id="{4EEF7888-1127-49AA-8EA0-D91A97CC6B97}"/>
                  </a:ext>
                </a:extLst>
              </p:cNvPr>
              <p:cNvCxnSpPr>
                <a:endCxn id="87"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90" name="Group 89">
              <a:extLst>
                <a:ext uri="{FF2B5EF4-FFF2-40B4-BE49-F238E27FC236}">
                  <a16:creationId xmlns:a16="http://schemas.microsoft.com/office/drawing/2014/main" id="{E59E5B2D-AFC6-4810-983A-D2DBF60A4889}"/>
                </a:ext>
              </a:extLst>
            </p:cNvPr>
            <p:cNvGrpSpPr/>
            <p:nvPr/>
          </p:nvGrpSpPr>
          <p:grpSpPr>
            <a:xfrm rot="10800000">
              <a:off x="10099512" y="801351"/>
              <a:ext cx="333522" cy="331239"/>
              <a:chOff x="7170827" y="2963573"/>
              <a:chExt cx="479654" cy="476370"/>
            </a:xfrm>
            <a:solidFill>
              <a:schemeClr val="bg1"/>
            </a:solidFill>
          </p:grpSpPr>
          <p:sp>
            <p:nvSpPr>
              <p:cNvPr id="91" name="Oval 90">
                <a:extLst>
                  <a:ext uri="{FF2B5EF4-FFF2-40B4-BE49-F238E27FC236}">
                    <a16:creationId xmlns:a16="http://schemas.microsoft.com/office/drawing/2014/main" id="{36C84D6C-AF3A-44AB-B5FC-711B1EA2C9E4}"/>
                  </a:ext>
                </a:extLst>
              </p:cNvPr>
              <p:cNvSpPr/>
              <p:nvPr/>
            </p:nvSpPr>
            <p:spPr bwMode="auto">
              <a:xfrm>
                <a:off x="7170827" y="2963573"/>
                <a:ext cx="476370" cy="476370"/>
              </a:xfrm>
              <a:prstGeom prst="ellips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nSpc>
                    <a:spcPct val="110000"/>
                  </a:lnSpc>
                  <a:spcBef>
                    <a:spcPct val="0"/>
                  </a:spcBef>
                </a:pPr>
                <a:endParaRPr lang="en-US" b="1">
                  <a:solidFill>
                    <a:schemeClr val="bg1"/>
                  </a:solidFill>
                </a:endParaRPr>
              </a:p>
            </p:txBody>
          </p:sp>
          <p:cxnSp>
            <p:nvCxnSpPr>
              <p:cNvPr id="92" name="Straight Connector 91">
                <a:extLst>
                  <a:ext uri="{FF2B5EF4-FFF2-40B4-BE49-F238E27FC236}">
                    <a16:creationId xmlns:a16="http://schemas.microsoft.com/office/drawing/2014/main" id="{ECF6A5A8-9190-4977-8E91-2416D2A1B927}"/>
                  </a:ext>
                </a:extLst>
              </p:cNvPr>
              <p:cNvCxnSpPr>
                <a:endCxn id="91" idx="1"/>
              </p:cNvCxnSpPr>
              <p:nvPr/>
            </p:nvCxnSpPr>
            <p:spPr bwMode="auto">
              <a:xfrm flipH="1" flipV="1">
                <a:off x="7240590" y="3033336"/>
                <a:ext cx="409891" cy="121344"/>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3" name="Straight Connector 92">
                <a:extLst>
                  <a:ext uri="{FF2B5EF4-FFF2-40B4-BE49-F238E27FC236}">
                    <a16:creationId xmlns:a16="http://schemas.microsoft.com/office/drawing/2014/main" id="{4C7660F4-2DEA-4055-B66C-FC0F70A757C0}"/>
                  </a:ext>
                </a:extLst>
              </p:cNvPr>
              <p:cNvCxnSpPr>
                <a:endCxn id="91" idx="3"/>
              </p:cNvCxnSpPr>
              <p:nvPr/>
            </p:nvCxnSpPr>
            <p:spPr bwMode="auto">
              <a:xfrm flipH="1">
                <a:off x="7240590" y="3257550"/>
                <a:ext cx="409890" cy="112630"/>
              </a:xfrm>
              <a:prstGeom prst="line">
                <a:avLst/>
              </a:prstGeom>
              <a:grp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94" name="TextBox 93">
              <a:extLst>
                <a:ext uri="{FF2B5EF4-FFF2-40B4-BE49-F238E27FC236}">
                  <a16:creationId xmlns:a16="http://schemas.microsoft.com/office/drawing/2014/main" id="{B8F23A14-DD5E-4D5B-8114-1AA9296A246C}"/>
                </a:ext>
              </a:extLst>
            </p:cNvPr>
            <p:cNvSpPr txBox="1"/>
            <p:nvPr/>
          </p:nvSpPr>
          <p:spPr>
            <a:xfrm>
              <a:off x="9486994" y="1716511"/>
              <a:ext cx="1910573" cy="225603"/>
            </a:xfrm>
            <a:prstGeom prst="rect">
              <a:avLst/>
            </a:prstGeom>
            <a:noFill/>
          </p:spPr>
          <p:txBody>
            <a:bodyPr wrap="square" lIns="0" tIns="0" rIns="0" bIns="0" rtlCol="0">
              <a:spAutoFit/>
            </a:bodyPr>
            <a:lstStyle/>
            <a:p>
              <a:pPr>
                <a:lnSpc>
                  <a:spcPct val="110000"/>
                </a:lnSpc>
                <a:spcBef>
                  <a:spcPts val="0"/>
                </a:spcBef>
              </a:pPr>
              <a:r>
                <a:rPr lang="en-US" sz="1200" dirty="0">
                  <a:solidFill>
                    <a:schemeClr val="tx1"/>
                  </a:solidFill>
                </a:rPr>
                <a:t>Temperature Control</a:t>
              </a:r>
            </a:p>
          </p:txBody>
        </p:sp>
        <p:sp>
          <p:nvSpPr>
            <p:cNvPr id="95" name="TextBox 94">
              <a:extLst>
                <a:ext uri="{FF2B5EF4-FFF2-40B4-BE49-F238E27FC236}">
                  <a16:creationId xmlns:a16="http://schemas.microsoft.com/office/drawing/2014/main" id="{EE733D43-C7C9-4C94-A443-61FB5D0F1443}"/>
                </a:ext>
              </a:extLst>
            </p:cNvPr>
            <p:cNvSpPr txBox="1"/>
            <p:nvPr/>
          </p:nvSpPr>
          <p:spPr>
            <a:xfrm>
              <a:off x="9681868" y="1231377"/>
              <a:ext cx="1163251" cy="187424"/>
            </a:xfrm>
            <a:prstGeom prst="rect">
              <a:avLst/>
            </a:prstGeom>
            <a:noFill/>
          </p:spPr>
          <p:txBody>
            <a:bodyPr wrap="square" lIns="0" tIns="0" rIns="0" bIns="0" rtlCol="0">
              <a:spAutoFit/>
            </a:bodyPr>
            <a:lstStyle/>
            <a:p>
              <a:pPr>
                <a:lnSpc>
                  <a:spcPct val="110000"/>
                </a:lnSpc>
                <a:spcBef>
                  <a:spcPts val="0"/>
                </a:spcBef>
              </a:pPr>
              <a:r>
                <a:rPr lang="en-US" sz="1200">
                  <a:solidFill>
                    <a:schemeClr val="tx1"/>
                  </a:solidFill>
                </a:rPr>
                <a:t>Fan Control</a:t>
              </a:r>
            </a:p>
          </p:txBody>
        </p:sp>
        <p:sp>
          <p:nvSpPr>
            <p:cNvPr id="96" name="TextBox 95">
              <a:extLst>
                <a:ext uri="{FF2B5EF4-FFF2-40B4-BE49-F238E27FC236}">
                  <a16:creationId xmlns:a16="http://schemas.microsoft.com/office/drawing/2014/main" id="{FE0122C7-D966-4760-A6CE-7A3C14FAF87D}"/>
                </a:ext>
              </a:extLst>
            </p:cNvPr>
            <p:cNvSpPr txBox="1"/>
            <p:nvPr/>
          </p:nvSpPr>
          <p:spPr>
            <a:xfrm>
              <a:off x="8076647" y="1592560"/>
              <a:ext cx="1344765" cy="225603"/>
            </a:xfrm>
            <a:prstGeom prst="rect">
              <a:avLst/>
            </a:prstGeom>
            <a:noFill/>
          </p:spPr>
          <p:txBody>
            <a:bodyPr wrap="square" lIns="0" tIns="0" rIns="0" bIns="0" rtlCol="0">
              <a:spAutoFit/>
            </a:bodyPr>
            <a:lstStyle/>
            <a:p>
              <a:pPr>
                <a:lnSpc>
                  <a:spcPct val="110000"/>
                </a:lnSpc>
                <a:spcBef>
                  <a:spcPts val="0"/>
                </a:spcBef>
              </a:pPr>
              <a:r>
                <a:rPr lang="en-US" sz="1200" dirty="0">
                  <a:solidFill>
                    <a:schemeClr val="tx1"/>
                  </a:solidFill>
                </a:rPr>
                <a:t>Plant Control</a:t>
              </a:r>
            </a:p>
          </p:txBody>
        </p:sp>
        <p:sp>
          <p:nvSpPr>
            <p:cNvPr id="97" name="Oval 96">
              <a:extLst>
                <a:ext uri="{FF2B5EF4-FFF2-40B4-BE49-F238E27FC236}">
                  <a16:creationId xmlns:a16="http://schemas.microsoft.com/office/drawing/2014/main" id="{4DC062BF-E375-4D7A-BB28-591570B8604D}"/>
                </a:ext>
              </a:extLst>
            </p:cNvPr>
            <p:cNvSpPr/>
            <p:nvPr/>
          </p:nvSpPr>
          <p:spPr bwMode="auto">
            <a:xfrm>
              <a:off x="7503904" y="2461643"/>
              <a:ext cx="409889" cy="409889"/>
            </a:xfrm>
            <a:prstGeom prst="ellipse">
              <a:avLst/>
            </a:prstGeom>
            <a:solidFill>
              <a:schemeClr val="bg1"/>
            </a:solidFill>
            <a:ln w="38100">
              <a:solidFill>
                <a:srgbClr val="4A6274"/>
              </a:solidFill>
            </a:ln>
            <a:effectLst/>
          </p:spPr>
          <p:txBody>
            <a:bodyPr wrap="square" lIns="0" tIns="0" rIns="0" bIns="0" numCol="1" spcCol="72000" rtlCol="0" anchor="ctr">
              <a:noAutofit/>
            </a:bodyPr>
            <a:lstStyle/>
            <a:p>
              <a:pPr>
                <a:lnSpc>
                  <a:spcPct val="110000"/>
                </a:lnSpc>
                <a:spcBef>
                  <a:spcPct val="0"/>
                </a:spcBef>
              </a:pPr>
              <a:r>
                <a:rPr lang="en-US" b="1">
                  <a:solidFill>
                    <a:schemeClr val="tx1"/>
                  </a:solidFill>
                </a:rPr>
                <a:t>T</a:t>
              </a:r>
            </a:p>
          </p:txBody>
        </p:sp>
        <p:cxnSp>
          <p:nvCxnSpPr>
            <p:cNvPr id="98" name="Straight Connector 97">
              <a:extLst>
                <a:ext uri="{FF2B5EF4-FFF2-40B4-BE49-F238E27FC236}">
                  <a16:creationId xmlns:a16="http://schemas.microsoft.com/office/drawing/2014/main" id="{04F2575E-3FA9-4618-9282-D10A4F06365D}"/>
                </a:ext>
              </a:extLst>
            </p:cNvPr>
            <p:cNvCxnSpPr>
              <a:cxnSpLocks/>
            </p:cNvCxnSpPr>
            <p:nvPr/>
          </p:nvCxnSpPr>
          <p:spPr bwMode="auto">
            <a:xfrm>
              <a:off x="7708736" y="2301159"/>
              <a:ext cx="113" cy="160484"/>
            </a:xfrm>
            <a:prstGeom prst="line">
              <a:avLst/>
            </a:prstGeom>
            <a:solidFill>
              <a:schemeClr val="bg1"/>
            </a:solidFill>
            <a:ln w="25400">
              <a:solidFill>
                <a:schemeClr val="bg2">
                  <a:lumMod val="50000"/>
                </a:schemeClr>
              </a:solid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9" name="TextBox 98">
              <a:extLst>
                <a:ext uri="{FF2B5EF4-FFF2-40B4-BE49-F238E27FC236}">
                  <a16:creationId xmlns:a16="http://schemas.microsoft.com/office/drawing/2014/main" id="{B838206D-CC08-4AD8-B86F-4B21014AA281}"/>
                </a:ext>
              </a:extLst>
            </p:cNvPr>
            <p:cNvSpPr txBox="1"/>
            <p:nvPr/>
          </p:nvSpPr>
          <p:spPr>
            <a:xfrm>
              <a:off x="10388350" y="1961686"/>
              <a:ext cx="977167" cy="187424"/>
            </a:xfrm>
            <a:prstGeom prst="rect">
              <a:avLst/>
            </a:prstGeom>
            <a:noFill/>
          </p:spPr>
          <p:txBody>
            <a:bodyPr wrap="square" lIns="0" tIns="0" rIns="0" bIns="0" rtlCol="0">
              <a:spAutoFit/>
            </a:bodyPr>
            <a:lstStyle/>
            <a:p>
              <a:pPr algn="l">
                <a:lnSpc>
                  <a:spcPct val="110000"/>
                </a:lnSpc>
                <a:spcBef>
                  <a:spcPts val="0"/>
                </a:spcBef>
              </a:pPr>
              <a:r>
                <a:rPr lang="en-US" sz="1200" b="1" dirty="0">
                  <a:solidFill>
                    <a:schemeClr val="tx1"/>
                  </a:solidFill>
                </a:rPr>
                <a:t>TsuSP/Tsu</a:t>
              </a:r>
            </a:p>
          </p:txBody>
        </p:sp>
        <p:sp>
          <p:nvSpPr>
            <p:cNvPr id="100" name="TextBox 99">
              <a:extLst>
                <a:ext uri="{FF2B5EF4-FFF2-40B4-BE49-F238E27FC236}">
                  <a16:creationId xmlns:a16="http://schemas.microsoft.com/office/drawing/2014/main" id="{FBD44D56-396D-4DF5-9B5A-1B04CDF37451}"/>
                </a:ext>
              </a:extLst>
            </p:cNvPr>
            <p:cNvSpPr txBox="1"/>
            <p:nvPr/>
          </p:nvSpPr>
          <p:spPr>
            <a:xfrm>
              <a:off x="8886758" y="1922892"/>
              <a:ext cx="495622" cy="189328"/>
            </a:xfrm>
            <a:prstGeom prst="rect">
              <a:avLst/>
            </a:prstGeom>
            <a:noFill/>
          </p:spPr>
          <p:txBody>
            <a:bodyPr wrap="square" lIns="0" tIns="0" rIns="0" bIns="0" rtlCol="0">
              <a:spAutoFit/>
            </a:bodyPr>
            <a:lstStyle/>
            <a:p>
              <a:pPr algn="l">
                <a:lnSpc>
                  <a:spcPct val="110000"/>
                </a:lnSpc>
                <a:spcBef>
                  <a:spcPts val="0"/>
                </a:spcBef>
              </a:pPr>
              <a:r>
                <a:rPr lang="en-US" sz="1200" b="1" err="1">
                  <a:solidFill>
                    <a:schemeClr val="tx1"/>
                  </a:solidFill>
                </a:rPr>
                <a:t>Cvlv</a:t>
              </a:r>
              <a:endParaRPr lang="en-US" sz="1200" b="1">
                <a:solidFill>
                  <a:schemeClr val="tx1"/>
                </a:solidFill>
              </a:endParaRPr>
            </a:p>
          </p:txBody>
        </p:sp>
        <p:sp>
          <p:nvSpPr>
            <p:cNvPr id="101" name="TextBox 100">
              <a:extLst>
                <a:ext uri="{FF2B5EF4-FFF2-40B4-BE49-F238E27FC236}">
                  <a16:creationId xmlns:a16="http://schemas.microsoft.com/office/drawing/2014/main" id="{0F3842CB-B415-4DEA-918B-2B4CAF9E024D}"/>
                </a:ext>
              </a:extLst>
            </p:cNvPr>
            <p:cNvSpPr txBox="1"/>
            <p:nvPr/>
          </p:nvSpPr>
          <p:spPr>
            <a:xfrm>
              <a:off x="9393239" y="1924663"/>
              <a:ext cx="495622" cy="189328"/>
            </a:xfrm>
            <a:prstGeom prst="rect">
              <a:avLst/>
            </a:prstGeom>
            <a:noFill/>
          </p:spPr>
          <p:txBody>
            <a:bodyPr wrap="square" lIns="0" tIns="0" rIns="0" bIns="0" rtlCol="0">
              <a:spAutoFit/>
            </a:bodyPr>
            <a:lstStyle/>
            <a:p>
              <a:pPr algn="l">
                <a:lnSpc>
                  <a:spcPct val="110000"/>
                </a:lnSpc>
                <a:spcBef>
                  <a:spcPts val="0"/>
                </a:spcBef>
              </a:pPr>
              <a:r>
                <a:rPr lang="en-US" sz="1200" b="1" dirty="0" err="1">
                  <a:solidFill>
                    <a:schemeClr val="tx1"/>
                  </a:solidFill>
                </a:rPr>
                <a:t>Hvlv</a:t>
              </a:r>
              <a:endParaRPr lang="en-US" sz="1200" b="1" dirty="0">
                <a:solidFill>
                  <a:schemeClr val="tx1"/>
                </a:solidFill>
              </a:endParaRPr>
            </a:p>
          </p:txBody>
        </p:sp>
      </p:grpSp>
      <p:sp>
        <p:nvSpPr>
          <p:cNvPr id="102" name="TextBox 19">
            <a:extLst>
              <a:ext uri="{FF2B5EF4-FFF2-40B4-BE49-F238E27FC236}">
                <a16:creationId xmlns:a16="http://schemas.microsoft.com/office/drawing/2014/main" id="{7272B434-DFF7-4365-9052-ECBE573978BD}"/>
              </a:ext>
            </a:extLst>
          </p:cNvPr>
          <p:cNvSpPr txBox="1"/>
          <p:nvPr/>
        </p:nvSpPr>
        <p:spPr>
          <a:xfrm>
            <a:off x="2283047" y="611775"/>
            <a:ext cx="6099328" cy="2590342"/>
          </a:xfrm>
          <a:prstGeom prst="rect">
            <a:avLst/>
          </a:prstGeom>
          <a:noFill/>
        </p:spPr>
        <p:txBody>
          <a:bodyPr wrap="square" lIns="0" tIns="0" rIns="0" bIns="0" rtlCol="0">
            <a:noAutofit/>
          </a:bodyPr>
          <a:lstStyle/>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Exercise 1. Create watch page</a:t>
            </a: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Learning goal: </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Create watch pages with SCOPE tool, and view the results with built-in HMI</a:t>
            </a:r>
          </a:p>
          <a:p>
            <a:pPr algn="l">
              <a:lnSpc>
                <a:spcPct val="110000"/>
              </a:lnSpc>
              <a:spcBef>
                <a:spcPts val="0"/>
              </a:spcBef>
            </a:pPr>
            <a:endParaRPr lang="en-US" sz="400" b="1" dirty="0">
              <a:solidFill>
                <a:schemeClr val="tx1"/>
              </a:solidFill>
              <a:latin typeface="+mn-lt"/>
              <a:ea typeface="Arial Unicode MS" panose="020B0604020202020204" pitchFamily="34" charset="-128"/>
              <a:cs typeface="Arial Unicode MS" panose="020B0604020202020204" pitchFamily="34" charset="-128"/>
            </a:endParaRP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Workflow overview:</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1. Create SCOPE engineering project</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2. Understand template watch page</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3. Create new page, add points to the page, create link of the page</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4. Generate watch page, download to controller</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5. View results on built-in HMI</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6. (optional) Old HMI-editor</a:t>
            </a:r>
          </a:p>
        </p:txBody>
      </p:sp>
      <p:sp>
        <p:nvSpPr>
          <p:cNvPr id="106" name="TextBox 19">
            <a:extLst>
              <a:ext uri="{FF2B5EF4-FFF2-40B4-BE49-F238E27FC236}">
                <a16:creationId xmlns:a16="http://schemas.microsoft.com/office/drawing/2014/main" id="{568D2ADE-E380-46DB-82AD-290E8528F85E}"/>
              </a:ext>
            </a:extLst>
          </p:cNvPr>
          <p:cNvSpPr txBox="1"/>
          <p:nvPr/>
        </p:nvSpPr>
        <p:spPr>
          <a:xfrm>
            <a:off x="2276672" y="3175600"/>
            <a:ext cx="6053029" cy="2329089"/>
          </a:xfrm>
          <a:prstGeom prst="rect">
            <a:avLst/>
          </a:prstGeom>
          <a:noFill/>
        </p:spPr>
        <p:txBody>
          <a:bodyPr wrap="square" lIns="0" tIns="0" rIns="0" bIns="0" rtlCol="0">
            <a:noAutofit/>
          </a:bodyPr>
          <a:lstStyle/>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Exercise 2. Translation using text database</a:t>
            </a: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Learning goal: </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Make use of text database to allow switching the HMI to other languages</a:t>
            </a:r>
          </a:p>
          <a:p>
            <a:pPr algn="l">
              <a:lnSpc>
                <a:spcPct val="110000"/>
              </a:lnSpc>
              <a:spcBef>
                <a:spcPts val="0"/>
              </a:spcBef>
            </a:pPr>
            <a:endParaRPr lang="en-US" sz="400" b="1" dirty="0">
              <a:solidFill>
                <a:schemeClr val="tx1"/>
              </a:solidFill>
              <a:latin typeface="+mn-lt"/>
              <a:ea typeface="Arial Unicode MS" panose="020B0604020202020204" pitchFamily="34" charset="-128"/>
              <a:cs typeface="Arial Unicode MS" panose="020B0604020202020204" pitchFamily="34" charset="-128"/>
            </a:endParaRPr>
          </a:p>
          <a:p>
            <a:pPr algn="l">
              <a:lnSpc>
                <a:spcPct val="110000"/>
              </a:lnSpc>
              <a:spcBef>
                <a:spcPts val="0"/>
              </a:spcBef>
            </a:pPr>
            <a:r>
              <a:rPr lang="en-US" sz="1400" b="1" dirty="0">
                <a:solidFill>
                  <a:schemeClr val="tx1"/>
                </a:solidFill>
                <a:latin typeface="+mn-lt"/>
                <a:ea typeface="Arial Unicode MS" panose="020B0604020202020204" pitchFamily="34" charset="-128"/>
                <a:cs typeface="Arial Unicode MS" panose="020B0604020202020204" pitchFamily="34" charset="-128"/>
              </a:rPr>
              <a:t>Workflow overview:</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1. Use text keys to enable page text translation</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2. Add text keys to the text catalog </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sym typeface="Wingdings" panose="05000000000000000000" pitchFamily="2" charset="2"/>
              </a:rPr>
              <a:t></a:t>
            </a:r>
            <a:r>
              <a:rPr lang="en-US" sz="1400" dirty="0">
                <a:solidFill>
                  <a:schemeClr val="tx1"/>
                </a:solidFill>
                <a:latin typeface="+mn-lt"/>
                <a:ea typeface="Arial Unicode MS" panose="020B0604020202020204" pitchFamily="34" charset="-128"/>
                <a:cs typeface="Arial Unicode MS" panose="020B0604020202020204" pitchFamily="34" charset="-128"/>
              </a:rPr>
              <a:t> Generate mapping file and download to controller</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3. Automation object text translation</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sym typeface="Wingdings" panose="05000000000000000000" pitchFamily="2" charset="2"/>
              </a:rPr>
              <a:t></a:t>
            </a:r>
            <a:r>
              <a:rPr lang="en-US" sz="1400" dirty="0">
                <a:solidFill>
                  <a:schemeClr val="tx1"/>
                </a:solidFill>
                <a:latin typeface="+mn-lt"/>
                <a:ea typeface="Arial Unicode MS" panose="020B0604020202020204" pitchFamily="34" charset="-128"/>
                <a:cs typeface="Arial Unicode MS" panose="020B0604020202020204" pitchFamily="34" charset="-128"/>
              </a:rPr>
              <a:t> Generate mapping file and download to controller</a:t>
            </a:r>
          </a:p>
          <a:p>
            <a:pPr algn="l">
              <a:lnSpc>
                <a:spcPct val="110000"/>
              </a:lnSpc>
              <a:spcBef>
                <a:spcPts val="0"/>
              </a:spcBef>
            </a:pPr>
            <a:r>
              <a:rPr lang="en-US" sz="1400" dirty="0">
                <a:solidFill>
                  <a:schemeClr val="tx1"/>
                </a:solidFill>
                <a:latin typeface="+mn-lt"/>
                <a:ea typeface="Arial Unicode MS" panose="020B0604020202020204" pitchFamily="34" charset="-128"/>
                <a:cs typeface="Arial Unicode MS" panose="020B0604020202020204" pitchFamily="34" charset="-128"/>
              </a:rPr>
              <a:t>Step4. (option) Read in all unmapped objects into object text file</a:t>
            </a:r>
          </a:p>
          <a:p>
            <a:pPr algn="l">
              <a:lnSpc>
                <a:spcPct val="110000"/>
              </a:lnSpc>
              <a:spcBef>
                <a:spcPts val="0"/>
              </a:spcBef>
            </a:pPr>
            <a:endParaRPr lang="en-US" sz="14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105" name="Textfeld 337">
            <a:extLst>
              <a:ext uri="{FF2B5EF4-FFF2-40B4-BE49-F238E27FC236}">
                <a16:creationId xmlns:a16="http://schemas.microsoft.com/office/drawing/2014/main" id="{407438ED-8319-4A99-B72A-B22D58AC3705}"/>
              </a:ext>
            </a:extLst>
          </p:cNvPr>
          <p:cNvSpPr txBox="1"/>
          <p:nvPr/>
        </p:nvSpPr>
        <p:spPr>
          <a:xfrm>
            <a:off x="0" y="4914079"/>
            <a:ext cx="2160000" cy="222249"/>
          </a:xfrm>
          <a:prstGeom prst="rect">
            <a:avLst/>
          </a:prstGeom>
          <a:solidFill>
            <a:srgbClr val="0080B6"/>
          </a:solidFill>
        </p:spPr>
        <p:txBody>
          <a:bodyPr wrap="square" lIns="54000" tIns="0" rIns="0" bIns="0" rtlCol="0" anchor="ctr" anchorCtr="0">
            <a:noAutofit/>
          </a:bodyPr>
          <a:lstStyle>
            <a:defPPr>
              <a:defRPr lang="de-DE"/>
            </a:defPPr>
            <a:lvl1pPr algn="l">
              <a:lnSpc>
                <a:spcPct val="110000"/>
              </a:lnSpc>
              <a:spcBef>
                <a:spcPts val="0"/>
              </a:spcBef>
              <a:defRPr sz="1100" b="1">
                <a:solidFill>
                  <a:schemeClr val="bg1"/>
                </a:solidFill>
                <a:cs typeface="Arial" panose="020B0604020202020204" pitchFamily="34" charset="0"/>
              </a:defRPr>
            </a:lvl1pPr>
          </a:lstStyle>
          <a:p>
            <a:r>
              <a:rPr lang="en-US"/>
              <a:t>Controller HMI</a:t>
            </a:r>
          </a:p>
        </p:txBody>
      </p:sp>
    </p:spTree>
    <p:extLst>
      <p:ext uri="{BB962C8B-B14F-4D97-AF65-F5344CB8AC3E}">
        <p14:creationId xmlns:p14="http://schemas.microsoft.com/office/powerpoint/2010/main" val="98112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
  <p:tag name="CDT_CUSTOMER_NAME" val="Siemens AG, Industry Sector"/>
  <p:tag name="CDT_VERSION" val="4.1.2.0"/>
  <p:tag name="CDT_CREATORVERSION" val="4.1.2.0"/>
  <p:tag name="CDT_TEMPLATEVERSION" val="2.0.0"/>
  <p:tag name="CDT_LANGUAGE" val="1033"/>
  <p:tag name="CDT_FONTSET" val="Arial"/>
  <p:tag name="EE4P_STYLE" val="Siemens 4:3"/>
  <p:tag name="TAG_BACKING_FORM_KEY" val="202716-g:\19_e-learning_projects\40_cerberus_pro_ul\01_virtual_classroom\03_script&amp;design voice\15\15.15.pptx"/>
  <p:tag name="ARTICULATE_PRESENTER_VERSION" val="7"/>
  <p:tag name="ARTICULATE_USED_PAGE_ORIENTATION" val="1"/>
  <p:tag name="ARTICULATE_USED_PAGE_SIZE" val="7"/>
  <p:tag name="ARTICULATE_DESIGN_ID_BLANK" val="t1T2KWuF"/>
  <p:tag name="ARTICULATE_PROJECT_OPEN" val="0"/>
  <p:tag name="EE4P_STYLE_ID" val="040887b0-086c-4ff4-2016-b5b55c2754ed"/>
  <p:tag name="ARTICULATE_SLIDE_COUNT" val="186"/>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heme/theme1.xml><?xml version="1.0" encoding="utf-8"?>
<a:theme xmlns:a="http://schemas.openxmlformats.org/drawingml/2006/main" name="blank">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36000" bIns="54000" numCol="1" spcCol="72000" rtlCol="0" anchor="ctr">
        <a:noAutofit/>
      </a:bodyPr>
      <a:lstStyle>
        <a:defPPr algn="l">
          <a:lnSpc>
            <a:spcPct val="110000"/>
          </a:lnSpc>
          <a:spcBef>
            <a:spcPct val="0"/>
          </a:spcBef>
          <a:defRPr dirty="0">
            <a:solidFill>
              <a:schemeClr val="bg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nSpc>
            <a:spcPct val="110000"/>
          </a:lnSpc>
          <a:spcBef>
            <a:spcPts val="0"/>
          </a:spcBef>
          <a:defRPr sz="1200" dirty="0"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1_Two rows</Name>
  <PpLayout>32</PpLayout>
  <Index>14</Index>
</p4ppTags>
</file>

<file path=customXml/item10.xml><?xml version="1.0" encoding="utf-8"?>
<VariableListDefinition name="AD_HOC" displayName="AD_HOC" id="db51dfa1-fe2d-4a5c-b3d5-900df0afe8ba" isdomainofvalue="False" dataSourceId="b0bac3c1-b699-4af3-8dc8-2ca3802a2340"/>
</file>

<file path=customXml/item2.xml><?xml version="1.0" encoding="utf-8"?>
<p4ppTags>
  <Name>Title (big bar down)</Name>
  <PpLayout>1</PpLayout>
  <Index>1</Index>
</p4ppTags>
</file>

<file path=customXml/item3.xml><?xml version="1.0" encoding="utf-8"?>
<VariableList UniqueId="0d34fe06-40f3-4e70-b928-f4fd32271296" Name="System" ContentType="XML" MajorVersion="0" MinorVersion="1" isLocalCopy="False" IsBaseObject="False" DataSourceId="1c807371-650e-4847-a528-48b8e4171f6c" DataSourceMajorVersion="0" DataSourceMinorVersion="1"/>
</file>

<file path=customXml/item4.xml><?xml version="1.0" encoding="utf-8"?>
<VariableListDefinition name="Computed" displayName="Computed" id="e0e75796-603f-4c30-ab87-4e252269ca15" isdomainofvalue="False" dataSourceId="7508c306-5007-408f-827e-fbd5c67c967b"/>
</file>

<file path=customXml/item5.xml><?xml version="1.0" encoding="utf-8"?>
<VariableList UniqueId="db51dfa1-fe2d-4a5c-b3d5-900df0afe8ba" Name="AD_HOC" ContentType="XML" MajorVersion="0" MinorVersion="1" isLocalCopy="False" IsBaseObject="False" DataSourceId="b0bac3c1-b699-4af3-8dc8-2ca3802a2340" DataSourceMajorVersion="0" DataSourceMinorVersion="1"/>
</file>

<file path=customXml/item6.xml><?xml version="1.0" encoding="utf-8"?>
<AllExternalAdhocVariableMappings/>
</file>

<file path=customXml/item7.xml><?xml version="1.0" encoding="utf-8"?>
<p4ppTags/>
</file>

<file path=customXml/item8.xml><?xml version="1.0" encoding="utf-8"?>
<VariableListDefinition name="System" displayName="System" id="0d34fe06-40f3-4e70-b928-f4fd32271296" isdomainofvalue="False" dataSourceId="1c807371-650e-4847-a528-48b8e4171f6c"/>
</file>

<file path=customXml/item9.xml><?xml version="1.0" encoding="utf-8"?>
<VariableList UniqueId="e0e75796-603f-4c30-ab87-4e252269ca15" Name="Computed" ContentType="XML" MajorVersion="0" MinorVersion="1" isLocalCopy="False" IsBaseObject="False" DataSourceId="7508c306-5007-408f-827e-fbd5c67c967b" DataSourceMajorVersion="0" DataSourceMinorVersion="1"/>
</file>

<file path=customXml/itemProps1.xml><?xml version="1.0" encoding="utf-8"?>
<ds:datastoreItem xmlns:ds="http://schemas.openxmlformats.org/officeDocument/2006/customXml" ds:itemID="{9C85B323-8697-4319-B012-CB7EF0B99A9B}">
  <ds:schemaRefs/>
</ds:datastoreItem>
</file>

<file path=customXml/itemProps10.xml><?xml version="1.0" encoding="utf-8"?>
<ds:datastoreItem xmlns:ds="http://schemas.openxmlformats.org/officeDocument/2006/customXml" ds:itemID="{D356FF11-3188-406A-81B3-72A203877DC1}">
  <ds:schemaRefs/>
</ds:datastoreItem>
</file>

<file path=customXml/itemProps2.xml><?xml version="1.0" encoding="utf-8"?>
<ds:datastoreItem xmlns:ds="http://schemas.openxmlformats.org/officeDocument/2006/customXml" ds:itemID="{A5111100-98EE-4A20-AE7B-BF136EFD1435}">
  <ds:schemaRefs/>
</ds:datastoreItem>
</file>

<file path=customXml/itemProps3.xml><?xml version="1.0" encoding="utf-8"?>
<ds:datastoreItem xmlns:ds="http://schemas.openxmlformats.org/officeDocument/2006/customXml" ds:itemID="{7D8A91CB-FF7E-44C5-8AE2-890CEA030576}">
  <ds:schemaRefs/>
</ds:datastoreItem>
</file>

<file path=customXml/itemProps4.xml><?xml version="1.0" encoding="utf-8"?>
<ds:datastoreItem xmlns:ds="http://schemas.openxmlformats.org/officeDocument/2006/customXml" ds:itemID="{B821C410-C7CC-46DC-A2E3-D504DF45562C}">
  <ds:schemaRefs/>
</ds:datastoreItem>
</file>

<file path=customXml/itemProps5.xml><?xml version="1.0" encoding="utf-8"?>
<ds:datastoreItem xmlns:ds="http://schemas.openxmlformats.org/officeDocument/2006/customXml" ds:itemID="{EF472768-5210-45E2-8FE7-37D6FF3B4384}">
  <ds:schemaRefs/>
</ds:datastoreItem>
</file>

<file path=customXml/itemProps6.xml><?xml version="1.0" encoding="utf-8"?>
<ds:datastoreItem xmlns:ds="http://schemas.openxmlformats.org/officeDocument/2006/customXml" ds:itemID="{36312D4C-FD76-4270-8B0A-6990CC573F9B}">
  <ds:schemaRefs/>
</ds:datastoreItem>
</file>

<file path=customXml/itemProps7.xml><?xml version="1.0" encoding="utf-8"?>
<ds:datastoreItem xmlns:ds="http://schemas.openxmlformats.org/officeDocument/2006/customXml" ds:itemID="{EB8A4E2E-2B8F-4B71-A368-F18362B0C85F}">
  <ds:schemaRefs/>
</ds:datastoreItem>
</file>

<file path=customXml/itemProps8.xml><?xml version="1.0" encoding="utf-8"?>
<ds:datastoreItem xmlns:ds="http://schemas.openxmlformats.org/officeDocument/2006/customXml" ds:itemID="{51C236A3-CAF0-454D-B407-BAA0CC85FAB2}">
  <ds:schemaRefs/>
</ds:datastoreItem>
</file>

<file path=customXml/itemProps9.xml><?xml version="1.0" encoding="utf-8"?>
<ds:datastoreItem xmlns:ds="http://schemas.openxmlformats.org/officeDocument/2006/customXml" ds:itemID="{5F93C807-924A-4040-A6A2-1A6C639B1055}">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68</Words>
  <Application>Microsoft Office PowerPoint</Application>
  <PresentationFormat>Benutzerdefiniert</PresentationFormat>
  <Paragraphs>167</Paragraphs>
  <Slides>12</Slides>
  <Notes>7</Notes>
  <HiddenSlides>3</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2</vt:i4>
      </vt:variant>
    </vt:vector>
  </HeadingPairs>
  <TitlesOfParts>
    <vt:vector size="18" baseType="lpstr">
      <vt:lpstr>Arial</vt:lpstr>
      <vt:lpstr>Calibri</vt:lpstr>
      <vt:lpstr>Siemens Sans</vt:lpstr>
      <vt:lpstr>Siemens Sans SC Black</vt:lpstr>
      <vt:lpstr>Wingdings</vt:lpstr>
      <vt:lpstr>blank</vt:lpstr>
      <vt:lpstr>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Siemens AG</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ullerku</dc:creator>
  <cp:keywords>C_Unrestricted</cp:keywords>
  <cp:lastModifiedBy>Müller, Kurt (SI BP S TSS ACD)</cp:lastModifiedBy>
  <cp:revision>131</cp:revision>
  <cp:lastPrinted>2019-08-14T07:25:41Z</cp:lastPrinted>
  <dcterms:created xsi:type="dcterms:W3CDTF">2015-06-16T08:40:55Z</dcterms:created>
  <dcterms:modified xsi:type="dcterms:W3CDTF">2021-11-25T20:53:57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Release date">
    <vt:lpwstr>March 2013</vt:lpwstr>
  </property>
  <property fmtid="{D5CDD505-2E9C-101B-9397-08002B2CF9AE}" pid="4" name="Office version">
    <vt:lpwstr>2007/2010</vt:lpwstr>
  </property>
  <property fmtid="{D5CDD505-2E9C-101B-9397-08002B2CF9AE}" pid="5" name="Release version">
    <vt:lpwstr>2.0.0</vt:lpwstr>
  </property>
  <property fmtid="{D5CDD505-2E9C-101B-9397-08002B2CF9AE}" pid="6" name="ArticulateGUID">
    <vt:lpwstr>06888F11-5E90-481D-8FD1-D75AB47D3761</vt:lpwstr>
  </property>
  <property fmtid="{D5CDD505-2E9C-101B-9397-08002B2CF9AE}" pid="7" name="ArticulatePath">
    <vt:lpwstr>3.02</vt:lpwstr>
  </property>
  <property fmtid="{D5CDD505-2E9C-101B-9397-08002B2CF9AE}" pid="8" name="ArticulateProjectVersion">
    <vt:lpwstr>7</vt:lpwstr>
  </property>
  <property fmtid="{D5CDD505-2E9C-101B-9397-08002B2CF9AE}" pid="9" name="ArticulateUseProject">
    <vt:lpwstr>1</vt:lpwstr>
  </property>
  <property fmtid="{D5CDD505-2E9C-101B-9397-08002B2CF9AE}" pid="10" name="ArticulateProjectFull">
    <vt:lpwstr>G:\19_e-Learning_Projects\40_Cerberus_PRO_UL\01_Virtual_Classroom\03_Script&amp;Design Voice\15\15.15.ppta</vt:lpwstr>
  </property>
  <property fmtid="{D5CDD505-2E9C-101B-9397-08002B2CF9AE}" pid="11" name="Document Confidentiality">
    <vt:lpwstr>Unrestricted</vt:lpwstr>
  </property>
  <property fmtid="{D5CDD505-2E9C-101B-9397-08002B2CF9AE}" pid="12" name="sodocoClasLang">
    <vt:lpwstr>Unrestricted</vt:lpwstr>
  </property>
  <property fmtid="{D5CDD505-2E9C-101B-9397-08002B2CF9AE}" pid="13" name="sodocoClasLangId">
    <vt:i4>0</vt:i4>
  </property>
  <property fmtid="{D5CDD505-2E9C-101B-9397-08002B2CF9AE}" pid="14" name="sodocoClasId">
    <vt:i4>0</vt:i4>
  </property>
  <property fmtid="{D5CDD505-2E9C-101B-9397-08002B2CF9AE}" pid="15" name="MSIP_Label_6f75f480-7803-4ee9-bb54-84d0635fdbe7_Enabled">
    <vt:lpwstr>true</vt:lpwstr>
  </property>
  <property fmtid="{D5CDD505-2E9C-101B-9397-08002B2CF9AE}" pid="16" name="MSIP_Label_6f75f480-7803-4ee9-bb54-84d0635fdbe7_SetDate">
    <vt:lpwstr>2021-11-19T09:19:00Z</vt:lpwstr>
  </property>
  <property fmtid="{D5CDD505-2E9C-101B-9397-08002B2CF9AE}" pid="17" name="MSIP_Label_6f75f480-7803-4ee9-bb54-84d0635fdbe7_Method">
    <vt:lpwstr>Privileged</vt:lpwstr>
  </property>
  <property fmtid="{D5CDD505-2E9C-101B-9397-08002B2CF9AE}" pid="18" name="MSIP_Label_6f75f480-7803-4ee9-bb54-84d0635fdbe7_Name">
    <vt:lpwstr>unrestricted</vt:lpwstr>
  </property>
  <property fmtid="{D5CDD505-2E9C-101B-9397-08002B2CF9AE}" pid="19" name="MSIP_Label_6f75f480-7803-4ee9-bb54-84d0635fdbe7_SiteId">
    <vt:lpwstr>38ae3bcd-9579-4fd4-adda-b42e1495d55a</vt:lpwstr>
  </property>
  <property fmtid="{D5CDD505-2E9C-101B-9397-08002B2CF9AE}" pid="20" name="MSIP_Label_6f75f480-7803-4ee9-bb54-84d0635fdbe7_ActionId">
    <vt:lpwstr>36871616-267b-4bc1-b8b4-eef157d4b72d</vt:lpwstr>
  </property>
  <property fmtid="{D5CDD505-2E9C-101B-9397-08002B2CF9AE}" pid="21" name="MSIP_Label_6f75f480-7803-4ee9-bb54-84d0635fdbe7_ContentBits">
    <vt:lpwstr>0</vt:lpwstr>
  </property>
  <property fmtid="{D5CDD505-2E9C-101B-9397-08002B2CF9AE}" pid="22" name="Document_Confidentiality">
    <vt:lpwstr>Unrestricted</vt:lpwstr>
  </property>
</Properties>
</file>